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ink/ink232.xml" ContentType="application/inkml+xml"/>
  <Override PartName="/ppt/ink/ink233.xml" ContentType="application/inkml+xml"/>
  <Override PartName="/ppt/ink/ink234.xml" ContentType="application/inkml+xml"/>
  <Override PartName="/ppt/ink/ink235.xml" ContentType="application/inkml+xml"/>
  <Override PartName="/ppt/ink/ink236.xml" ContentType="application/inkml+xml"/>
  <Override PartName="/ppt/ink/ink237.xml" ContentType="application/inkml+xml"/>
  <Override PartName="/ppt/ink/ink238.xml" ContentType="application/inkml+xml"/>
  <Override PartName="/ppt/ink/ink239.xml" ContentType="application/inkml+xml"/>
  <Override PartName="/ppt/ink/ink240.xml" ContentType="application/inkml+xml"/>
  <Override PartName="/ppt/ink/ink241.xml" ContentType="application/inkml+xml"/>
  <Override PartName="/ppt/ink/ink242.xml" ContentType="application/inkml+xml"/>
  <Override PartName="/ppt/ink/ink243.xml" ContentType="application/inkml+xml"/>
  <Override PartName="/ppt/ink/ink244.xml" ContentType="application/inkml+xml"/>
  <Override PartName="/ppt/ink/ink245.xml" ContentType="application/inkml+xml"/>
  <Override PartName="/ppt/ink/ink246.xml" ContentType="application/inkml+xml"/>
  <Override PartName="/ppt/ink/ink247.xml" ContentType="application/inkml+xml"/>
  <Override PartName="/ppt/ink/ink248.xml" ContentType="application/inkml+xml"/>
  <Override PartName="/ppt/ink/ink249.xml" ContentType="application/inkml+xml"/>
  <Override PartName="/ppt/ink/ink250.xml" ContentType="application/inkml+xml"/>
  <Override PartName="/ppt/ink/ink251.xml" ContentType="application/inkml+xml"/>
  <Override PartName="/ppt/ink/ink252.xml" ContentType="application/inkml+xml"/>
  <Override PartName="/ppt/ink/ink253.xml" ContentType="application/inkml+xml"/>
  <Override PartName="/ppt/ink/ink254.xml" ContentType="application/inkml+xml"/>
  <Override PartName="/ppt/ink/ink255.xml" ContentType="application/inkml+xml"/>
  <Override PartName="/ppt/ink/ink256.xml" ContentType="application/inkml+xml"/>
  <Override PartName="/ppt/ink/ink257.xml" ContentType="application/inkml+xml"/>
  <Override PartName="/ppt/ink/ink258.xml" ContentType="application/inkml+xml"/>
  <Override PartName="/ppt/ink/ink259.xml" ContentType="application/inkml+xml"/>
  <Override PartName="/ppt/ink/ink260.xml" ContentType="application/inkml+xml"/>
  <Override PartName="/ppt/ink/ink261.xml" ContentType="application/inkml+xml"/>
  <Override PartName="/ppt/ink/ink262.xml" ContentType="application/inkml+xml"/>
  <Override PartName="/ppt/ink/ink263.xml" ContentType="application/inkml+xml"/>
  <Override PartName="/ppt/ink/ink264.xml" ContentType="application/inkml+xml"/>
  <Override PartName="/ppt/ink/ink265.xml" ContentType="application/inkml+xml"/>
  <Override PartName="/ppt/ink/ink266.xml" ContentType="application/inkml+xml"/>
  <Override PartName="/ppt/ink/ink267.xml" ContentType="application/inkml+xml"/>
  <Override PartName="/ppt/ink/ink268.xml" ContentType="application/inkml+xml"/>
  <Override PartName="/ppt/ink/ink269.xml" ContentType="application/inkml+xml"/>
  <Override PartName="/ppt/ink/ink270.xml" ContentType="application/inkml+xml"/>
  <Override PartName="/ppt/ink/ink271.xml" ContentType="application/inkml+xml"/>
  <Override PartName="/ppt/ink/ink272.xml" ContentType="application/inkml+xml"/>
  <Override PartName="/ppt/ink/ink273.xml" ContentType="application/inkml+xml"/>
  <Override PartName="/ppt/ink/ink274.xml" ContentType="application/inkml+xml"/>
  <Override PartName="/ppt/ink/ink275.xml" ContentType="application/inkml+xml"/>
  <Override PartName="/ppt/ink/ink276.xml" ContentType="application/inkml+xml"/>
  <Override PartName="/ppt/ink/ink277.xml" ContentType="application/inkml+xml"/>
  <Override PartName="/ppt/ink/ink278.xml" ContentType="application/inkml+xml"/>
  <Override PartName="/ppt/ink/ink279.xml" ContentType="application/inkml+xml"/>
  <Override PartName="/ppt/ink/ink280.xml" ContentType="application/inkml+xml"/>
  <Override PartName="/ppt/ink/ink281.xml" ContentType="application/inkml+xml"/>
  <Override PartName="/ppt/ink/ink282.xml" ContentType="application/inkml+xml"/>
  <Override PartName="/ppt/ink/ink283.xml" ContentType="application/inkml+xml"/>
  <Override PartName="/ppt/ink/ink284.xml" ContentType="application/inkml+xml"/>
  <Override PartName="/ppt/ink/ink285.xml" ContentType="application/inkml+xml"/>
  <Override PartName="/ppt/ink/ink286.xml" ContentType="application/inkml+xml"/>
  <Override PartName="/ppt/ink/ink287.xml" ContentType="application/inkml+xml"/>
  <Override PartName="/ppt/ink/ink288.xml" ContentType="application/inkml+xml"/>
  <Override PartName="/ppt/ink/ink289.xml" ContentType="application/inkml+xml"/>
  <Override PartName="/ppt/ink/ink290.xml" ContentType="application/inkml+xml"/>
  <Override PartName="/ppt/ink/ink291.xml" ContentType="application/inkml+xml"/>
  <Override PartName="/ppt/ink/ink292.xml" ContentType="application/inkml+xml"/>
  <Override PartName="/ppt/ink/ink293.xml" ContentType="application/inkml+xml"/>
  <Override PartName="/ppt/ink/ink294.xml" ContentType="application/inkml+xml"/>
  <Override PartName="/ppt/ink/ink295.xml" ContentType="application/inkml+xml"/>
  <Override PartName="/ppt/ink/ink296.xml" ContentType="application/inkml+xml"/>
  <Override PartName="/ppt/ink/ink297.xml" ContentType="application/inkml+xml"/>
  <Override PartName="/ppt/ink/ink298.xml" ContentType="application/inkml+xml"/>
  <Override PartName="/ppt/ink/ink299.xml" ContentType="application/inkml+xml"/>
  <Override PartName="/ppt/ink/ink300.xml" ContentType="application/inkml+xml"/>
  <Override PartName="/ppt/ink/ink301.xml" ContentType="application/inkml+xml"/>
  <Override PartName="/ppt/ink/ink302.xml" ContentType="application/inkml+xml"/>
  <Override PartName="/ppt/ink/ink303.xml" ContentType="application/inkml+xml"/>
  <Override PartName="/ppt/ink/ink304.xml" ContentType="application/inkml+xml"/>
  <Override PartName="/ppt/ink/ink305.xml" ContentType="application/inkml+xml"/>
  <Override PartName="/ppt/ink/ink306.xml" ContentType="application/inkml+xml"/>
  <Override PartName="/ppt/ink/ink307.xml" ContentType="application/inkml+xml"/>
  <Override PartName="/ppt/ink/ink308.xml" ContentType="application/inkml+xml"/>
  <Override PartName="/ppt/ink/ink309.xml" ContentType="application/inkml+xml"/>
  <Override PartName="/ppt/ink/ink310.xml" ContentType="application/inkml+xml"/>
  <Override PartName="/ppt/ink/ink311.xml" ContentType="application/inkml+xml"/>
  <Override PartName="/ppt/ink/ink312.xml" ContentType="application/inkml+xml"/>
  <Override PartName="/ppt/ink/ink313.xml" ContentType="application/inkml+xml"/>
  <Override PartName="/ppt/ink/ink314.xml" ContentType="application/inkml+xml"/>
  <Override PartName="/ppt/ink/ink315.xml" ContentType="application/inkml+xml"/>
  <Override PartName="/ppt/ink/ink316.xml" ContentType="application/inkml+xml"/>
  <Override PartName="/ppt/ink/ink317.xml" ContentType="application/inkml+xml"/>
  <Override PartName="/ppt/ink/ink318.xml" ContentType="application/inkml+xml"/>
  <Override PartName="/ppt/ink/ink319.xml" ContentType="application/inkml+xml"/>
  <Override PartName="/ppt/ink/ink320.xml" ContentType="application/inkml+xml"/>
  <Override PartName="/ppt/ink/ink321.xml" ContentType="application/inkml+xml"/>
  <Override PartName="/ppt/ink/ink322.xml" ContentType="application/inkml+xml"/>
  <Override PartName="/ppt/ink/ink323.xml" ContentType="application/inkml+xml"/>
  <Override PartName="/ppt/ink/ink324.xml" ContentType="application/inkml+xml"/>
  <Override PartName="/ppt/ink/ink325.xml" ContentType="application/inkml+xml"/>
  <Override PartName="/ppt/ink/ink326.xml" ContentType="application/inkml+xml"/>
  <Override PartName="/ppt/ink/ink327.xml" ContentType="application/inkml+xml"/>
  <Override PartName="/ppt/ink/ink328.xml" ContentType="application/inkml+xml"/>
  <Override PartName="/ppt/ink/ink329.xml" ContentType="application/inkml+xml"/>
  <Override PartName="/ppt/ink/ink330.xml" ContentType="application/inkml+xml"/>
  <Override PartName="/ppt/ink/ink331.xml" ContentType="application/inkml+xml"/>
  <Override PartName="/ppt/ink/ink332.xml" ContentType="application/inkml+xml"/>
  <Override PartName="/ppt/ink/ink333.xml" ContentType="application/inkml+xml"/>
  <Override PartName="/ppt/ink/ink334.xml" ContentType="application/inkml+xml"/>
  <Override PartName="/ppt/ink/ink335.xml" ContentType="application/inkml+xml"/>
  <Override PartName="/ppt/ink/ink336.xml" ContentType="application/inkml+xml"/>
  <Override PartName="/ppt/ink/ink337.xml" ContentType="application/inkml+xml"/>
  <Override PartName="/ppt/ink/ink338.xml" ContentType="application/inkml+xml"/>
  <Override PartName="/ppt/ink/ink339.xml" ContentType="application/inkml+xml"/>
  <Override PartName="/ppt/ink/ink340.xml" ContentType="application/inkml+xml"/>
  <Override PartName="/ppt/ink/ink341.xml" ContentType="application/inkml+xml"/>
  <Override PartName="/ppt/ink/ink342.xml" ContentType="application/inkml+xml"/>
  <Override PartName="/ppt/ink/ink343.xml" ContentType="application/inkml+xml"/>
  <Override PartName="/ppt/ink/ink344.xml" ContentType="application/inkml+xml"/>
  <Override PartName="/ppt/ink/ink345.xml" ContentType="application/inkml+xml"/>
  <Override PartName="/ppt/ink/ink346.xml" ContentType="application/inkml+xml"/>
  <Override PartName="/ppt/ink/ink347.xml" ContentType="application/inkml+xml"/>
  <Override PartName="/ppt/ink/ink348.xml" ContentType="application/inkml+xml"/>
  <Override PartName="/ppt/ink/ink349.xml" ContentType="application/inkml+xml"/>
  <Override PartName="/ppt/ink/ink350.xml" ContentType="application/inkml+xml"/>
  <Override PartName="/ppt/ink/ink351.xml" ContentType="application/inkml+xml"/>
  <Override PartName="/ppt/ink/ink352.xml" ContentType="application/inkml+xml"/>
  <Override PartName="/ppt/ink/ink353.xml" ContentType="application/inkml+xml"/>
  <Override PartName="/ppt/ink/ink354.xml" ContentType="application/inkml+xml"/>
  <Override PartName="/ppt/ink/ink355.xml" ContentType="application/inkml+xml"/>
  <Override PartName="/ppt/ink/ink356.xml" ContentType="application/inkml+xml"/>
  <Override PartName="/ppt/ink/ink357.xml" ContentType="application/inkml+xml"/>
  <Override PartName="/ppt/ink/ink358.xml" ContentType="application/inkml+xml"/>
  <Override PartName="/ppt/ink/ink359.xml" ContentType="application/inkml+xml"/>
  <Override PartName="/ppt/ink/ink360.xml" ContentType="application/inkml+xml"/>
  <Override PartName="/ppt/ink/ink361.xml" ContentType="application/inkml+xml"/>
  <Override PartName="/ppt/ink/ink362.xml" ContentType="application/inkml+xml"/>
  <Override PartName="/ppt/ink/ink363.xml" ContentType="application/inkml+xml"/>
  <Override PartName="/ppt/ink/ink364.xml" ContentType="application/inkml+xml"/>
  <Override PartName="/ppt/ink/ink365.xml" ContentType="application/inkml+xml"/>
  <Override PartName="/ppt/ink/ink366.xml" ContentType="application/inkml+xml"/>
  <Override PartName="/ppt/ink/ink367.xml" ContentType="application/inkml+xml"/>
  <Override PartName="/ppt/ink/ink368.xml" ContentType="application/inkml+xml"/>
  <Override PartName="/ppt/ink/ink369.xml" ContentType="application/inkml+xml"/>
  <Override PartName="/ppt/ink/ink370.xml" ContentType="application/inkml+xml"/>
  <Override PartName="/ppt/ink/ink371.xml" ContentType="application/inkml+xml"/>
  <Override PartName="/ppt/ink/ink372.xml" ContentType="application/inkml+xml"/>
  <Override PartName="/ppt/ink/ink373.xml" ContentType="application/inkml+xml"/>
  <Override PartName="/ppt/ink/ink374.xml" ContentType="application/inkml+xml"/>
  <Override PartName="/ppt/ink/ink375.xml" ContentType="application/inkml+xml"/>
  <Override PartName="/ppt/ink/ink376.xml" ContentType="application/inkml+xml"/>
  <Override PartName="/ppt/ink/ink377.xml" ContentType="application/inkml+xml"/>
  <Override PartName="/ppt/ink/ink378.xml" ContentType="application/inkml+xml"/>
  <Override PartName="/ppt/ink/ink379.xml" ContentType="application/inkml+xml"/>
  <Override PartName="/ppt/ink/ink380.xml" ContentType="application/inkml+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Lst>
  <p:notesMasterIdLst>
    <p:notesMasterId r:id="rId30"/>
  </p:notesMasterIdLst>
  <p:sldIdLst>
    <p:sldId id="2134961957" r:id="rId3"/>
    <p:sldId id="2134961280" r:id="rId4"/>
    <p:sldId id="2134961277" r:id="rId5"/>
    <p:sldId id="2134961281" r:id="rId6"/>
    <p:sldId id="4415" r:id="rId7"/>
    <p:sldId id="2134961931" r:id="rId8"/>
    <p:sldId id="2134961953" r:id="rId9"/>
    <p:sldId id="2134961932" r:id="rId10"/>
    <p:sldId id="2134961934" r:id="rId11"/>
    <p:sldId id="2134961942" r:id="rId12"/>
    <p:sldId id="2134961937" r:id="rId13"/>
    <p:sldId id="2134961284" r:id="rId14"/>
    <p:sldId id="2134961939" r:id="rId15"/>
    <p:sldId id="2134961940" r:id="rId16"/>
    <p:sldId id="2134961943" r:id="rId17"/>
    <p:sldId id="2134961289" r:id="rId18"/>
    <p:sldId id="2134961944" r:id="rId19"/>
    <p:sldId id="2134961288" r:id="rId20"/>
    <p:sldId id="2134961945" r:id="rId21"/>
    <p:sldId id="2134961946" r:id="rId22"/>
    <p:sldId id="2134961290" r:id="rId23"/>
    <p:sldId id="2134961948" r:id="rId24"/>
    <p:sldId id="2134961949" r:id="rId25"/>
    <p:sldId id="2134961954" r:id="rId26"/>
    <p:sldId id="2134961955" r:id="rId27"/>
    <p:sldId id="2134961956" r:id="rId28"/>
    <p:sldId id="2134961959" r:id="rId29"/>
  </p:sldIdLst>
  <p:sldSz cx="12192000" cy="6858000"/>
  <p:notesSz cx="6858000" cy="93138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4" autoAdjust="0"/>
    <p:restoredTop sz="96015" autoAdjust="0"/>
  </p:normalViewPr>
  <p:slideViewPr>
    <p:cSldViewPr snapToGrid="0">
      <p:cViewPr varScale="1">
        <p:scale>
          <a:sx n="78" d="100"/>
          <a:sy n="78" d="100"/>
        </p:scale>
        <p:origin x="787" y="91"/>
      </p:cViewPr>
      <p:guideLst/>
    </p:cSldViewPr>
  </p:slideViewPr>
  <p:outlineViewPr>
    <p:cViewPr>
      <p:scale>
        <a:sx n="33" d="100"/>
        <a:sy n="33" d="100"/>
      </p:scale>
      <p:origin x="0" y="-3564"/>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8" Type="http://schemas.openxmlformats.org/officeDocument/2006/relationships/slide" Target="slides/slide6.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8:48:55.719"/>
    </inkml:context>
    <inkml:brush xml:id="br0">
      <inkml:brushProperty name="width" value="0.5" units="cm"/>
      <inkml:brushProperty name="height" value="1" units="cm"/>
      <inkml:brushProperty name="color" value="#FFFC00"/>
      <inkml:brushProperty name="tip" value="rectangle"/>
      <inkml:brushProperty name="rasterOp" value="maskPen"/>
      <inkml:brushProperty name="ignorePressure" value="1"/>
    </inkml:brush>
  </inkml:definitions>
  <inkml:trace contextRef="#ctx0" brushRef="#br0">0 162,'51'-3,"54"-8,-52 4,54 0,171 9,197-4,-282-10,67-2,-124 14,285-10,478-7,-672 18,-21-14,-5-1,810 13,-469 3,-276 12,-30-1,180 10,-77-22,84 1,-200 10,145 3,268 0,140 17,-421-27,63 5,-249 1,102 11,-200-14,119-3,-37-3,1624 22,-1214-26,-272 4,321-5,-191-37,91-2,-37 16,-42 1,544 23,-476 5,-303-16,-1-1,-88 13,883-18,-853 14,240 20,-228-3,188-11,-154-3,569 26,-630-11,90 4,1471-16,-787-3,-790-3,122-22,-45 4,-165 22,335-23,133 11,116-1,-564 13,57-10,18-2,184 11,119-7,564-10,-641 22,433-3,-758 1,-1 0,1 2,-1 0,1 1,24 9,-22-6,-1-2,1 0,31 4,246-5,-158-6,-91-1,57-8,-72 5,0 3,0 0,1 2,-1 1,39 5,82 23,320 39,-388-66,43 3,-113-3,0 1,-1 1,0 0,1 0,-1 1,20 10,-29-11,1 0,-2 0,1 1,0-1,-1 1,1 0,-1 0,0 0,0 1,-1-1,1 1,-1-1,0 1,0 0,2 10,2 9,5 50,-9-57,27 150,-16-110,-9-46,-1 1,-1-1,1 1,-2 0,0-1,0 1,-2 21,0-31,0 1,1-1,-1 0,0 0,0 0,-1 0,1 0,0 0,-1 0,1-1,-1 1,1 0,-1-1,0 1,0-1,0 0,0 0,0 1,0-1,0 0,0-1,0 1,-5 1,-61 9,46-8,-302 37,-483-2,772-36,0 1,1 2,-43 10,34-5,-72 6,-546-11,351-8,280 3,-59-2,0 5,-173 27,178-17,-2-4,1-4,-130-7,62-1,52 2,-50 0,-210 24,243-8,-200 38,261-43,-2-3,1-2,0-3,-76-6,8 1,-32 7,-227 35,284-29,-191-7,157-6,-454 23,244-12,8 0,-48 9,358-16,0 2,-1 1,2 1,-28 9,27-6,-1-2,0-1,-56 4,-320 17,-16 0,-1603-27,1827 14,14 0,-693-12,491-2,445-3,-1-3,0-2,67-20,-16 4,683-172,-718 177,0 4,0 3,135-4,-45 4,13-7,-1-8,192-55,-327 73,1 2,0 2,1 2,49 2,-12 0,22-1,-24 2,103-15,-135 1,-47 15,0 0,0 0,-1-1,1 1,0 0,0-1,-1 1,1 0,0-1,-1 1,1-1,0 1,-1-1,1 1,-1-1,1 0,-1 1,1-1,-1 1,0-1,1 0,-1 0,0 1,1-1,-1 0,0 0,0 1,0-1,1 0,-1 0,0 0,0 1,0-1,-1 0,1 0,0 1,0-1,0 0,0 0,-1 0,1 1,0-1,-1 0,1 1,-1-1,1 0,0 1,-1-1,0 1,1-1,-1 0,1 1,-1-1,0 1,0-1,-7-4,0 0,-1 0,1 0,-1 1,0 1,0 0,0 0,-1 0,-16-1,-98-7,98 10,-285-6,248 10,0 2,-121 27,132-23,0-2,0-2,-104-5,80 0,-835 64,656-38,-207-12,391-14,-150 13,-9 1,-264-1,8 0,-2356-13,2633 11,132-5,-1-2,-87-8,-673-16,543 23,96-6,-248-34,-73-20,382 46,-198 10,150 4,82-4,5-1,1 4,-161 24,167-1,70-17,0-2,0 0,-1-2,-39 3,-778-7,363-2,-1039 2,1317-12,37 0,-970 7,611 8,302-2,-263-3,250-18,126 8,-221-4,125 10,53-2,-293-9,-1074 16,725 3,787-3,1 1,-1 0,0 0,0 1,1-1,-1 1,0-1,1 1,-1 1,1-1,-1 0,1 1,-1 0,1-1,-4 4,4-2,1 1,0-1,-1 1,1-1,0 1,1 0,-1 0,1 0,0-1,0 2,0-1,0 0,0 6,-3 18,3-10,-2 0,0 0,0 0,-2-1,-1 0,-11 28,-53 77,59-99,0-1,1 2,2-1,0 1,2 1,1-1,0 1,2 0,1 0,2 48,1-69,0-1,-1 0,1 0,1 0,-1 0,0 0,1 0,-1 0,1 0,0-1,0 1,0-1,0 1,1-1,-1 0,0 0,1 0,0 0,0 0,-1 0,1-1,0 1,0-1,0 0,0 0,7 1,8 2,1 0,0-2,27 1,-28-2,176 3,41 3,540 10,-588-18,-117 4,0 4,96 21,61 8,403-27,-352-12,272 4,655-3,-842-12,67 1,4011 14,-4112 11,16 0,-263-13,1-4,89-17,-52 7,0 5,204 10,-150 3,465 24,33-1,283-6,254-39,-1093 9,147-9,1285 17,-762 5,-358-15,-87 0,-215 11,182-6,-227 1</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54.974"/>
    </inkml:context>
    <inkml:brush xml:id="br0">
      <inkml:brushProperty name="width" value="0.035" units="cm"/>
      <inkml:brushProperty name="height" value="0.035" units="cm"/>
      <inkml:brushProperty name="color" value="#E71224"/>
    </inkml:brush>
  </inkml:definitions>
  <inkml:trace contextRef="#ctx0" brushRef="#br0">1 0 24575,'4'0'0,"4"0"0,2 8 0,-1 5 0,-3 6 0,-1 2 0,-3 2 0,0-3-8191</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39.608"/>
    </inkml:context>
    <inkml:brush xml:id="br0">
      <inkml:brushProperty name="width" value="0.035" units="cm"/>
      <inkml:brushProperty name="height" value="0.035" units="cm"/>
      <inkml:brushProperty name="color" value="#E71224"/>
    </inkml:brush>
  </inkml:definitions>
  <inkml:trace contextRef="#ctx0" brushRef="#br0">1 61 24575,'0'7'0,"-1"28"0,2 0 0,0-1 0,3 1 0,1 0 0,14 52 0,-11-62 0,-2 0 0,5 43 0,-12-89 0,0 2 0,-1-1 0,-5-26 0,2 24 0,1-1 0,0 1 0,0-40 0,4 52 0,0 0 0,1 0 0,0-1 0,0 1 0,2 0 0,-1 1 0,1-1 0,0 0 0,1 1 0,8-16 0,-3 16 0,1-1 0,0 2 0,0-1 0,1 1 0,0 1 0,0 0 0,1 0 0,0 2 0,13-6 0,-23 10 0,0 0 0,-1 0 0,1 0 0,0 1 0,0-1 0,0 1 0,0-1 0,0 1 0,0 0 0,0-1 0,-1 1 0,1 0 0,0 0 0,0 1 0,0-1 0,0 0 0,0 1 0,0-1 0,0 1 0,0-1 0,0 1 0,-1 0 0,4 1 0,-3 0 0,-1 0 0,1 0 0,-1 0 0,1 0 0,-1 0 0,0 1 0,0-1 0,0 0 0,0 0 0,0 1 0,0-1 0,-1 1 0,1-1 0,-1 0 0,0 1 0,1 2 0,-1 3 0,0 0 0,0 0 0,-1 0 0,0 0 0,-1 0 0,1 0 0,-1-1 0,-1 1 0,0-1 0,-6 14 0,-30 25 0,30-37 0,0 2 0,0-1 0,0 1 0,-11 22 0,19-31 0,-1 1 0,1 0 0,0 0 0,0 0 0,0-1 0,1 1 0,-1 0 0,1 0 0,0 0 0,0 0 0,0 0 0,0 0 0,0 0 0,1 0 0,-1 0 0,1 0 0,0 0 0,-1 0 0,1 0 0,1-1 0,-1 1 0,0 0 0,1-1 0,-1 1 0,1-1 0,3 4 0,5 4 0,-1-1 0,2 0 0,-1-1 0,20 12 0,25 20 0,-50-35-170,1 0-1,-1-1 0,1 0 1,0-1-1,1 1 0,-1-1 1,13 4-1,1-1-6655</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42.172"/>
    </inkml:context>
    <inkml:brush xml:id="br0">
      <inkml:brushProperty name="width" value="0.035" units="cm"/>
      <inkml:brushProperty name="height" value="0.035" units="cm"/>
      <inkml:brushProperty name="color" value="#E71224"/>
    </inkml:brush>
  </inkml:definitions>
  <inkml:trace contextRef="#ctx0" brushRef="#br0">454 181 24575,'0'-5'0,"0"0"0,-1 1 0,0-1 0,0 0 0,0 1 0,-1-1 0,1 1 0,-1 0 0,0-1 0,0 1 0,-1 0 0,1 0 0,-1 0 0,0 1 0,0-1 0,0 1 0,-1-1 0,1 1 0,-1 0 0,0 0 0,0 1 0,0-1 0,0 1 0,0 0 0,-5-2 0,-13-5 0,-1 1 0,0 1 0,-41-8 0,29 8 0,-16-8 0,33 9 0,-1 1 0,-34-5 0,51 10 0,0 0 0,0 0 0,-1 0 0,1 0 0,0 0 0,-1 1 0,1-1 0,0 1 0,-1-1 0,1 1 0,0 0 0,0 0 0,0 0 0,0 0 0,0 0 0,0 1 0,0-1 0,0 1 0,1-1 0,-3 3 0,1 0 0,0 0 0,0 0 0,1 0 0,0 1 0,0-1 0,0 1 0,0-1 0,1 1 0,-2 6 0,0 5 0,1 0 0,1-1 0,0 1 0,4 31 0,-3-44 0,0-1 0,1 1 0,-1 0 0,1-1 0,0 1 0,0-1 0,0 0 0,0 1 0,0-1 0,1 0 0,-1 1 0,1-1 0,-1 0 0,1 0 0,0 0 0,0-1 0,0 1 0,0 0 0,0-1 0,0 1 0,0-1 0,0 1 0,1-1 0,-1 0 0,4 1 0,5 1 0,0 0 0,1-1 0,0 0 0,18 0 0,10 2 0,-29-3 0,1 1 0,-1 0 0,0 1 0,-1 0 0,1 1 0,-1 0 0,1 0 0,-1 1 0,0 1 0,-1 0 0,12 9 0,-6-3 0,-8-7 0,0 1 0,0-1 0,-1 1 0,0 1 0,0-1 0,8 13 0,-13-16 0,0 0 0,1 0 0,-1 0 0,0 0 0,-1 0 0,1 1 0,-1-1 0,1 0 0,-1 1 0,0-1 0,0 0 0,0 1 0,-1-1 0,1 0 0,-1 0 0,0 1 0,0-1 0,0 0 0,0 0 0,0 0 0,-4 5 0,-1 4 24,0-1 0,-1 0 0,0 0 0,-14 14 0,19-21-102,-1-1 0,0-1 0,0 1-1,0 0 1,-1-1 0,1 0 0,-1 1 0,1-1 0,-1-1-1,0 1 1,0 0 0,0-1 0,0 0 0,0 0 0,0 0-1,0 0 1,0-1 0,-4 0 0,-14-2-6748</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11.952"/>
    </inkml:context>
    <inkml:brush xml:id="br0">
      <inkml:brushProperty name="width" value="0.035" units="cm"/>
      <inkml:brushProperty name="height" value="0.035" units="cm"/>
      <inkml:brushProperty name="color" value="#E71224"/>
    </inkml:brush>
  </inkml:definitions>
  <inkml:trace contextRef="#ctx0" brushRef="#br0">3 1 24575,'-2'137'0,"5"150"0,0-270 0,1-1 0,0 0 0,1 0 0,1 0 0,13 26 0,-9-21 0,-1 0 0,7 25 0,-1 12 0,26 112 0,-41-168 0,0-1 0,0 1 0,1-1 0,-1 1 0,0 0 0,1-1 0,0 1 0,-1-1 0,1 1 0,0-1 0,0 1 0,-1-1 0,1 0 0,0 1 0,0-1 0,1 0 0,-1 0 0,0 0 0,0 0 0,1 0 0,-1 0 0,0 0 0,1 0 0,-1 0 0,1-1 0,-1 1 0,1 0 0,-1-1 0,1 1 0,0-1 0,-1 0 0,1 0 0,0 0 0,-1 1 0,3-2 0,5 0 0,0 0 0,0-1 0,0-1 0,0 1 0,12-7 0,12-2 0,136-29-1365,-139 34-5461</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13.296"/>
    </inkml:context>
    <inkml:brush xml:id="br0">
      <inkml:brushProperty name="width" value="0.035" units="cm"/>
      <inkml:brushProperty name="height" value="0.035" units="cm"/>
      <inkml:brushProperty name="color" value="#E71224"/>
    </inkml:brush>
  </inkml:definitions>
  <inkml:trace contextRef="#ctx0" brushRef="#br0">0 1 24575,'5'0'0,"5"0"0,6 0 0,5 0 0,7 0 0,4 0 0,1 0 0,-1 0 0,4 0 0,-1 0 0,-1 0 0,-6 0-8191</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14.187"/>
    </inkml:context>
    <inkml:brush xml:id="br0">
      <inkml:brushProperty name="width" value="0.035" units="cm"/>
      <inkml:brushProperty name="height" value="0.035" units="cm"/>
      <inkml:brushProperty name="color" value="#E71224"/>
    </inkml:brush>
  </inkml:definitions>
  <inkml:trace contextRef="#ctx0" brushRef="#br0">0 1 24575,'5'0'0,"5"0"0,7 0 0,4 0 0,3 0 0,2 0 0,1 0 0,0 0 0,1 0 0,-1 0 0,5 0 0,6 0 0,0 0 0,-1 0 0,1 0 0,5 0 0,-7 0-8191</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15.189"/>
    </inkml:context>
    <inkml:brush xml:id="br0">
      <inkml:brushProperty name="width" value="0.035" units="cm"/>
      <inkml:brushProperty name="height" value="0.035" units="cm"/>
      <inkml:brushProperty name="color" value="#E71224"/>
    </inkml:brush>
  </inkml:definitions>
  <inkml:trace contextRef="#ctx0" brushRef="#br0">0 1 24575,'0'4'0,"5"2"0,5 4 0,6 1 0,10 2 0,8 0 0,4-3 0,-1-3 0,-1-3 0,-3-2 0,-3-1 0,-6-5 0,-7-3-8191</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17.834"/>
    </inkml:context>
    <inkml:brush xml:id="br0">
      <inkml:brushProperty name="width" value="0.035" units="cm"/>
      <inkml:brushProperty name="height" value="0.035" units="cm"/>
      <inkml:brushProperty name="color" value="#E71224"/>
    </inkml:brush>
  </inkml:definitions>
  <inkml:trace contextRef="#ctx0" brushRef="#br0">59 1 24575,'-1'4'0,"0"1"0,-1 0 0,1-1 0,-1 1 0,0-1 0,-1 1 0,1-1 0,-5 6 0,-6 11 0,7-1 0,1-1 0,0 0 0,2 1 0,0 0 0,1 0 0,1 0 0,1 0 0,1 0 0,4 26 0,-3-37 0,0 1 0,1-1 0,0 1 0,1-1 0,0 0 0,0 0 0,0-1 0,2 1 0,-1-1 0,1 0 0,0 0 0,0-1 0,1 0 0,0 0 0,0 0 0,1-1 0,0 0 0,0-1 0,0 0 0,1 0 0,0 0 0,0-1 0,0-1 0,0 1 0,1-2 0,15 4 0,32 4 0,-44-7 0,0-1 0,0 0 0,0-1 0,18 0 0,-26-1 0,1-1 0,-1 0 0,0 0 0,0 0 0,0-1 0,0 0 0,0 0 0,0 0 0,0-1 0,-1 0 0,1 1 0,-1-2 0,0 1 0,7-6 0,0-4 0,0 0 0,-1 0 0,0-1 0,9-17 0,18-26 0,-34 52 0,1 1 0,-1-1 0,0 0 0,0 0 0,-1 0 0,0 0 0,0 0 0,0-1 0,0 1 0,-1-1 0,0 1 0,0-1 0,0 1 0,-1-1 0,0 0 0,0 1 0,0-1 0,-1 0 0,0 1 0,0-1 0,0 1 0,-1-1 0,1 1 0,-1 0 0,-1-1 0,1 1 0,-1 0 0,0 0 0,0 1 0,-6-8 0,1 3 0,0 1 0,0-1 0,-1 2 0,0-1 0,0 1 0,-1 1 0,0-1 0,0 2 0,-1-1 0,0 1 0,1 1 0,-2 0 0,-20-4 0,5 2 0,-44-16 0,22 6 0,43 15-195,1-1 0,-1 1 0,0 0 0,1 1 0,-1-1 0,-9 2 0,-6 2-6631</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19.146"/>
    </inkml:context>
    <inkml:brush xml:id="br0">
      <inkml:brushProperty name="width" value="0.035" units="cm"/>
      <inkml:brushProperty name="height" value="0.035" units="cm"/>
      <inkml:brushProperty name="color" value="#E71224"/>
    </inkml:brush>
  </inkml:definitions>
  <inkml:trace contextRef="#ctx0" brushRef="#br0">0 1 24575,'2'3'0,"-1"1"0,1 0 0,0-1 0,0 1 0,0-1 0,0 0 0,1 1 0,-1-1 0,1 0 0,0-1 0,0 1 0,0 0 0,0-1 0,5 3 0,7 8 0,125 131 0,-85-90-1365,-46-47-5461</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21.444"/>
    </inkml:context>
    <inkml:brush xml:id="br0">
      <inkml:brushProperty name="width" value="0.035" units="cm"/>
      <inkml:brushProperty name="height" value="0.035" units="cm"/>
      <inkml:brushProperty name="color" value="#E71224"/>
    </inkml:brush>
  </inkml:definitions>
  <inkml:trace contextRef="#ctx0" brushRef="#br0">0 1 24575,'0'48'0,"2"1"0,12 65 0,-3-22 0,-8-55 0,14 63 0,-15-90 0,1-1 0,0 0 0,0 0 0,1 0 0,0 0 0,1-1 0,0 0 0,0 1 0,1-2 0,0 1 0,11 10 0,-12-14 0,0 0 0,1 0 0,-1-1 0,1 0 0,0 0 0,0-1 0,1 1 0,-1-1 0,0 0 0,1-1 0,-1 0 0,1 0 0,-1 0 0,1-1 0,0 0 0,-1 0 0,1-1 0,-1 1 0,1-1 0,-1-1 0,1 0 0,-1 1 0,7-4 0,-2 0 0,0 1 0,0-2 0,0 1 0,-1-1 0,0-1 0,0 0 0,-1-1 0,1 1 0,-2-2 0,1 1 0,13-19 0,-15 17 0,-1-1 0,0 1 0,-1-2 0,0 1 0,0 0 0,-1-1 0,-1 0 0,0 0 0,-1 0 0,0 0 0,0 0 0,-2-1 0,1 1 0,-2 0 0,0-1 0,0 1 0,-1 0 0,0 0 0,-1 0 0,-1 0 0,0 1 0,0-1 0,-1 1 0,-1 0 0,-7-12 0,8 14-227,1 0-1,-1 0 1,2-1-1,-1 0 1,-3-16-1,3 1-6598</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23.885"/>
    </inkml:context>
    <inkml:brush xml:id="br0">
      <inkml:brushProperty name="width" value="0.035" units="cm"/>
      <inkml:brushProperty name="height" value="0.035" units="cm"/>
      <inkml:brushProperty name="color" value="#E71224"/>
    </inkml:brush>
  </inkml:definitions>
  <inkml:trace contextRef="#ctx0" brushRef="#br0">3 478 24575,'-2'-138'0,"5"-149"0,-3 285 0,0 0 0,0 0 0,0 0 0,1-1 0,-1 1 0,0 0 0,1 0 0,0 0 0,0 0 0,-1 0 0,1 0 0,0 0 0,0 0 0,1 0 0,-1 0 0,0 1 0,1-1 0,-1 0 0,1 1 0,-1-1 0,1 1 0,0 0 0,0 0 0,-1-1 0,1 1 0,0 0 0,0 0 0,0 1 0,0-1 0,0 0 0,1 1 0,-1-1 0,0 1 0,0 0 0,0-1 0,0 1 0,1 0 0,-1 0 0,0 1 0,0-1 0,0 0 0,3 1 0,2 1 0,0 0 0,-1 0 0,1 1 0,-1-1 0,1 1 0,-1 1 0,0-1 0,0 1 0,0 0 0,-1 0 0,1 1 0,4 5 0,-1 3 0,0 0 0,-2 0 0,1 0 0,7 22 0,3 3 0,-13-24 13,0 0-1,-1 0 1,0 0-1,-1 0 1,-1 1-1,0-1 1,-1 1-1,-1-1 1,-1 16-1,0-14-198,1-1 0,0 1-1,2-1 1,-1 0 0,2 1 0,0-1-1,10 28 1,-3-24-664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59.117"/>
    </inkml:context>
    <inkml:brush xml:id="br0">
      <inkml:brushProperty name="width" value="0.035" units="cm"/>
      <inkml:brushProperty name="height" value="0.035" units="cm"/>
      <inkml:brushProperty name="color" value="#E71224"/>
    </inkml:brush>
  </inkml:definitions>
  <inkml:trace contextRef="#ctx0" brushRef="#br0">0 0 24575,'0'4'0,"0"5"0,0 4 0,4 4 0,1-1-8191</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24.808"/>
    </inkml:context>
    <inkml:brush xml:id="br0">
      <inkml:brushProperty name="width" value="0.035" units="cm"/>
      <inkml:brushProperty name="height" value="0.035" units="cm"/>
      <inkml:brushProperty name="color" value="#E71224"/>
    </inkml:brush>
  </inkml:definitions>
  <inkml:trace contextRef="#ctx0" brushRef="#br0">0 1 24575,'5'0'0,"5"0"0,6 0 0,5 0 0,3 0 0,-2 0-8191</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26.164"/>
    </inkml:context>
    <inkml:brush xml:id="br0">
      <inkml:brushProperty name="width" value="0.035" units="cm"/>
      <inkml:brushProperty name="height" value="0.035" units="cm"/>
      <inkml:brushProperty name="color" value="#E71224"/>
    </inkml:brush>
  </inkml:definitions>
  <inkml:trace contextRef="#ctx0" brushRef="#br0">1 1 24575,'0'7'0,"0"11"0,0 0 0,0 0 0,2 0 0,0 0 0,1 0 0,1-1 0,7 19 0,6 10 0,-1 1 0,-2 1 0,-2 0 0,-3 1 0,-2 0 0,-1 0 0,-2 52 0,-6-41-61,0-34-265,1 1 0,1 0 0,8 51 0,-2-56-6500</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27.102"/>
    </inkml:context>
    <inkml:brush xml:id="br0">
      <inkml:brushProperty name="width" value="0.035" units="cm"/>
      <inkml:brushProperty name="height" value="0.035" units="cm"/>
      <inkml:brushProperty name="color" value="#E71224"/>
    </inkml:brush>
  </inkml:definitions>
  <inkml:trace contextRef="#ctx0" brushRef="#br0">0 1 24575,'0'4'0,"5"2"0,1 4 0,0 5 0,-1 4 0,-2 4 0,-1 7 0,3-2 0,2-1 0,-2-1 0,0 0 0,-2 0 0,-2 0 0,0 0 0,0 1 0,-2-10 0,-3-7 0</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28.681"/>
    </inkml:context>
    <inkml:brush xml:id="br0">
      <inkml:brushProperty name="width" value="0.035" units="cm"/>
      <inkml:brushProperty name="height" value="0.035" units="cm"/>
      <inkml:brushProperty name="color" value="#E71224"/>
    </inkml:brush>
  </inkml:definitions>
  <inkml:trace contextRef="#ctx0" brushRef="#br0">51 1 24575,'-4'0'0,"-2"4"0,-4 7 0,-1 5 0,2 5 0,2 3 0,3 2 0,6-4 0,3-9 0,1-17 0,-1-11 0,-2 0 0,0 13 0</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30.967"/>
    </inkml:context>
    <inkml:brush xml:id="br0">
      <inkml:brushProperty name="width" value="0.035" units="cm"/>
      <inkml:brushProperty name="height" value="0.035" units="cm"/>
      <inkml:brushProperty name="color" value="#E71224"/>
    </inkml:brush>
  </inkml:definitions>
  <inkml:trace contextRef="#ctx0" brushRef="#br0">0 2 24575,'141'-2'0,"154"4"0,-291-2 0,0 1 0,0-1 0,0 1 0,0 0 0,0 0 0,0 0 0,0 0 0,0 0 0,-1 1 0,1 0 0,-1 0 0,1 0 0,4 3 0,-7-3 0,0-1 0,0 1 0,0-1 0,0 1 0,0-1 0,0 1 0,0 0 0,0 0 0,-1-1 0,1 1 0,-1 0 0,1 0 0,-1 0 0,0-1 0,0 1 0,0 0 0,0 0 0,0 0 0,0 0 0,0 0 0,0-1 0,-1 1 0,1 0 0,-1 0 0,0 0 0,1-1 0,-1 1 0,0 0 0,0-1 0,-2 4 0,-6 8 0,-1 1 0,-1-1 0,0-1 0,0 0 0,-1-1 0,-1 0 0,-25 17 0,-36 33 0,72-60 0,1 0 0,0 1 0,-1-1 0,1 0 0,0 0 0,0 1 0,0-1 0,0 1 0,0-1 0,0 1 0,1-1 0,-1 1 0,0 0 0,1-1 0,-1 1 0,1 0 0,0-1 0,-1 1 0,1 0 0,0 1 0,0-1 0,1-1 0,-1 0 0,1 0 0,0 0 0,-1 0 0,1 1 0,0-1 0,0 0 0,0 0 0,0 0 0,0-1 0,0 1 0,0 0 0,0 0 0,0 0 0,0-1 0,0 1 0,0-1 0,1 1 0,0 0 0,10 2 0,0 1 0,0-2 0,0 0 0,18 1 0,-24-3 0,178 27-1365,-132-17-5461</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32.515"/>
    </inkml:context>
    <inkml:brush xml:id="br0">
      <inkml:brushProperty name="width" value="0.035" units="cm"/>
      <inkml:brushProperty name="height" value="0.035" units="cm"/>
      <inkml:brushProperty name="color" value="#E71224"/>
    </inkml:brush>
  </inkml:definitions>
  <inkml:trace contextRef="#ctx0" brushRef="#br0">0 1 24575,'0'44'0,"2"0"0,1-1 0,3 1 0,18 71 0,-15-65 0,-8-36 0,1 0 0,1-1 0,8 27 0,-9-37 0,-1 0 0,0 0 0,1 0 0,0 0 0,0 0 0,0-1 0,0 1 0,0-1 0,0 1 0,1-1 0,-1 0 0,1 1 0,-1-1 0,1 0 0,0-1 0,0 1 0,0-1 0,0 1 0,0-1 0,0 0 0,4 1 0,33 4 0,1-2 0,77-2 0,-36-1 0,-48 0-682,63-7-1,-57-1-6143</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33.781"/>
    </inkml:context>
    <inkml:brush xml:id="br0">
      <inkml:brushProperty name="width" value="0.035" units="cm"/>
      <inkml:brushProperty name="height" value="0.035" units="cm"/>
      <inkml:brushProperty name="color" value="#E71224"/>
    </inkml:brush>
  </inkml:definitions>
  <inkml:trace contextRef="#ctx0" brushRef="#br0">0 1 24575,'1'2'0,"-1"0"0,1 0 0,-1 0 0,1 0 0,0 0 0,-1 0 0,1 0 0,0 0 0,1 0 0,-1 0 0,0-1 0,0 1 0,1 0 0,-1-1 0,1 1 0,-1-1 0,1 0 0,0 1 0,0-1 0,0 0 0,-1 0 0,1 0 0,0 0 0,0 0 0,0-1 0,0 1 0,3 0 0,5 2 0,1 0 0,0-1 0,20 1 0,-5-2 0,0-2 0,0-1 0,35-7 0,30-3 0,-92 12-1,1 0 0,0 0 0,0 0-1,0 0 1,0 0 0,0 0 0,0 0-1,0 0 1,0 0 0,0 0 0,-1 1-1,1-1 1,0 0 0,0 0 0,0 0-1,0 0 1,0 0 0,0 0 0,0 0-1,0 0 1,0 0 0,0 0 0,0 0 0,0 1-1,0-1 1,0 0 0,0 0 0,0 0-1,0 0 1,0 0 0,0 0 0,0 0-1,0 0 1,0 1 0,0-1 0,0 0-1,0 0 1,0 0 0,0 0 0,0 0-1,0 0 1,0 0 0,0 0 0,0 0 0,0 1-1,0-1 1,0 0 0,0 0 0,0 0-1,0 0 1,0 0 0,0 0 0,0 0-1,0 0 1,1 0 0,-1 0 0,0 0-1,0 0 1,0 0 0,0 0 0,0 1-1,0-1 1,0 0 0,0 0 0,1 0-1,-9 6-1281,-7 5-5543</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9:34.673"/>
    </inkml:context>
    <inkml:brush xml:id="br0">
      <inkml:brushProperty name="width" value="0.035" units="cm"/>
      <inkml:brushProperty name="height" value="0.035" units="cm"/>
      <inkml:brushProperty name="color" value="#E71224"/>
    </inkml:brush>
  </inkml:definitions>
  <inkml:trace contextRef="#ctx0" brushRef="#br0">0 1 24575,'5'0'0,"5"0"0,7 0 0,4 0 0,3 0 0,2 0 0,1 0 0,1 0 0,-1 0 0,-4 0-8191</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02.624"/>
    </inkml:context>
    <inkml:brush xml:id="br0">
      <inkml:brushProperty name="width" value="0.035" units="cm"/>
      <inkml:brushProperty name="height" value="0.035" units="cm"/>
      <inkml:brushProperty name="color" value="#E71224"/>
    </inkml:brush>
  </inkml:definitions>
  <inkml:trace contextRef="#ctx0" brushRef="#br0">10321 29 24575,'-4340'0'0,"4020"-14"0,-12 0 0,-4488 15 0,4800-1 0,1 0 0,-1 2 0,1 0 0,-1 1 0,1 2 0,0-1 0,-25 11 0,35-10 0,0-1 0,0 1 0,1 0 0,-1 1 0,1 0 0,1 0 0,-1 0 0,1 1 0,0 1 0,0-1 0,1 1 0,0 0 0,1 0 0,0 1 0,0 0 0,-4 11 0,-10 25 0,9-26 0,2 1 0,0-1 0,1 2 0,1-1 0,1 1 0,1 0 0,-2 32 0,6 27 0,1-21 0,-3-1 0,-10 67 0,-16 138 0,-1-12 0,16-120 0,-7 15 0,7-67 0,-3 122 0,18 468 0,1-629 0,1 0 0,2 0 0,20 70 0,-16-71 0,-6-26 0,1 0 0,0 0 0,1-1 0,10 17 0,-9-18 0,0 1 0,-1 0 0,0 1 0,6 22 0,46 279 0,-52-246 0,-7 131 0,1 11 0,4-182 0,1 1 0,15 49 0,5 22 0,-3 12 0,-12-74 0,-3 2 0,0-1 0,0 51 0,-9 32 0,3 112 0,-1-230 0,0-1 0,1 0 0,-1 0 0,1 0 0,0 0 0,0 0 0,0 0 0,0 0 0,1 0 0,-1 0 0,1 0 0,-1-1 0,1 1 0,0-1 0,0 1 0,0-1 0,1 0 0,-1 0 0,0 1 0,1-2 0,0 1 0,-1 0 0,1 0 0,0-1 0,0 0 0,0 1 0,0-1 0,0 0 0,0-1 0,5 2 0,9 0 0,1 0 0,-1-2 0,0 0 0,29-3 0,-12 0 0,297-2 0,-316 4 0,0-1 0,0-1 0,0-1 0,-1 0 0,1-1 0,-1 0 0,23-13 0,46-15 0,-81 32 0,0 1 0,0 0 0,0-1 0,0 1 0,0-1 0,0 1 0,0-1 0,-1 0 0,1 0 0,0 0 0,0 0 0,-1 0 0,1 0 0,0 0 0,-1-1 0,1 1 0,-1 0 0,0-1 0,1 0 0,-1 1 0,0-1 0,0 0 0,0 1 0,0-1 0,0 0 0,-1 0 0,1 0 0,-1 0 0,1 0 0,-1 0 0,1 0 0,-1 0 0,0 0 0,0 0 0,0 0 0,0 0 0,0 0 0,-1 0 0,1 0 0,-1 0 0,1 0 0,-1 1 0,0-1 0,0-2 0,-6-10 0,-1 1 0,0 1 0,0-1 0,-1 1 0,-11-11 0,-1-2 0,-14-26-6,25 33-334,-2 1 1,0 1-1,-28-29 0,25 32-6486</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03.719"/>
    </inkml:context>
    <inkml:brush xml:id="br0">
      <inkml:brushProperty name="width" value="0.035" units="cm"/>
      <inkml:brushProperty name="height" value="0.035" units="cm"/>
      <inkml:brushProperty name="color" value="#E71224"/>
    </inkml:brush>
  </inkml:definitions>
  <inkml:trace contextRef="#ctx0" brushRef="#br0">431 1 24575,'-8'2'0,"0"1"0,0 0 0,1 0 0,-1 1 0,1 0 0,-1 0 0,1 1 0,1 0 0,-1 0 0,1 1 0,-7 7 0,-4 6 0,0 1 0,1 1 0,1 0 0,-17 32 0,-26 38 0,-47 51 0,102-138-80,1-1 0,-1 0-1,1 0 1,-1 0 0,0 0-1,0 0 1,0-1 0,-1 1-1,1-1 1,-1 0 0,1 0 0,-1 0-1,0-1 1,1 1 0,-1-1-1,-5 1 1,-8-1-6746</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23.711"/>
    </inkml:context>
    <inkml:brush xml:id="br0">
      <inkml:brushProperty name="width" value="0.035" units="cm"/>
      <inkml:brushProperty name="height" value="0.035" units="cm"/>
      <inkml:brushProperty name="color" value="#E71224"/>
    </inkml:brush>
  </inkml:definitions>
  <inkml:trace contextRef="#ctx0" brushRef="#br0">274 2 24575,'-64'-1'0,"-72"2"0,132 0 0,1-1 0,0 1 0,-1 0 0,1 0 0,0 0 0,0 0 0,0 1 0,0-1 0,0 1 0,0 0 0,0 0 0,1 0 0,-1 0 0,1 0 0,-1 0 0,1 1 0,0 0 0,0-1 0,0 1 0,0 0 0,0 0 0,1 0 0,-1 0 0,1 0 0,-2 4 0,2-1 0,-1-1 0,1 1 0,0 0 0,0 0 0,1-1 0,-1 1 0,1 0 0,1 0 0,-1-1 0,1 1 0,0 0 0,0 0 0,0-1 0,4 8 0,-3-10 0,-1-1 0,1 1 0,0-1 0,0 0 0,0 0 0,0 0 0,0 0 0,1 0 0,-1 0 0,0-1 0,1 1 0,0-1 0,-1 1 0,1-1 0,0 0 0,0 0 0,-1 0 0,1-1 0,0 1 0,0-1 0,0 0 0,4 1 0,13 0 0,-1-1 0,27-4 0,-16 2 0,-23 2 0,1 0 0,-1 0 0,0-1 0,0 0 0,0-1 0,0 1 0,0-1 0,0 0 0,7-4 0,-11 3 0,0 1 0,0 0 0,-1-1 0,1 1 0,-1-1 0,0 0 0,0 1 0,0-1 0,0 0 0,0 0 0,-1-1 0,1 1 0,-1 0 0,0 0 0,0-1 0,0 1 0,-1-1 0,1 1 0,-1-1 0,1-5 0,-1 4 0,1 1 0,0-1 0,-1 1 0,0-1 0,1 1 0,-2-1 0,1 0 0,0 1 0,-1-1 0,0 1 0,0-1 0,0 1 0,-1-1 0,1 1 0,-3-4 0,-2 9 0,1 12 0,1 14 0,3 3 0,2 1 0,1-1 0,1 0 0,1 0 0,2 0 0,1 0 0,1-1 0,13 29 0,-10-14-1365,-8-20-5461</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06.563"/>
    </inkml:context>
    <inkml:brush xml:id="br0">
      <inkml:brushProperty name="width" value="0.035" units="cm"/>
      <inkml:brushProperty name="height" value="0.035" units="cm"/>
      <inkml:brushProperty name="color" value="#E71224"/>
    </inkml:brush>
  </inkml:definitions>
  <inkml:trace contextRef="#ctx0" brushRef="#br0">1 1 24575,'20'56'0,"-13"-7"0,-3 0 0,-3 1 0,-7 92 0,-7-66 0,8-50 0,-3 51 0,9-34 13,1-31-288,-2 1-1,0-1 0,0 0 1,-3 17-1</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08.939"/>
    </inkml:context>
    <inkml:brush xml:id="br0">
      <inkml:brushProperty name="width" value="0.035" units="cm"/>
      <inkml:brushProperty name="height" value="0.035" units="cm"/>
      <inkml:brushProperty name="color" value="#E71224"/>
    </inkml:brush>
  </inkml:definitions>
  <inkml:trace contextRef="#ctx0" brushRef="#br0">33 1 24575,'14'172'0,"-1"3"0,-15-117 0,-15 81 0,15-125 0,1-4 0,-14 86 0,-3 140 0,18-231-112,1-4 57,-1 0 1,0-1-1,0 1 1,0 0-1,0 0 1,0 0 0,0-1-1,0 1 1,0 0-1,0 0 1,0 0-1,0-1 1,-1 1-1,1 0 1,0 0-1,-1-1 1,1 1-1,0 0 1,-1-1-1,1 1 1,-1 0-1,0 0 1</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28.298"/>
    </inkml:context>
    <inkml:brush xml:id="br0">
      <inkml:brushProperty name="width" value="0.035" units="cm"/>
      <inkml:brushProperty name="height" value="0.035" units="cm"/>
      <inkml:brushProperty name="color" value="#E71224"/>
    </inkml:brush>
  </inkml:definitions>
  <inkml:trace contextRef="#ctx0" brushRef="#br0">2 625 24575,'-1'-92'0,"3"-102"0,3 162 0,1-1 0,2 1 0,1 0 0,1 1 0,2 0 0,1 1 0,24-40 0,-35 66 0,-1 1 0,1 0 0,0 0 0,0 0 0,1 0 0,-1 0 0,1 0 0,-1 1 0,1-1 0,0 1 0,0 0 0,0-1 0,0 2 0,0-1 0,1 0 0,-1 0 0,0 1 0,5-1 0,-5 1 0,0 1 0,-1 1 0,1-1 0,0 0 0,-1 1 0,1-1 0,-1 1 0,1 0 0,-1 0 0,1 0 0,-1 0 0,1 1 0,-1-1 0,0 0 0,0 1 0,0 0 0,0-1 0,0 1 0,0 0 0,0 0 0,0 0 0,-1 0 0,1 1 0,-1-1 0,0 0 0,2 3 0,5 10 0,-1 1 0,0-1 0,-1 1 0,0 0 0,-2 0 0,0 1 0,-1-1 0,2 23 0,-2 17 0,-5 67 0,1 38 0,3-150-179,0-1 0,0 0 0,1 1 0,1-1 0,0 0 0,9 16 0,-13-25 67,9 18-6714</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29.253"/>
    </inkml:context>
    <inkml:brush xml:id="br0">
      <inkml:brushProperty name="width" value="0.035" units="cm"/>
      <inkml:brushProperty name="height" value="0.035" units="cm"/>
      <inkml:brushProperty name="color" value="#E71224"/>
    </inkml:brush>
  </inkml:definitions>
  <inkml:trace contextRef="#ctx0" brushRef="#br0">0 1 24575,'5'0'0,"5"0"0,15 0 0,12 0 0,5 0 0,-1 0 0,-3 0 0,-8 0-8191</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31.581"/>
    </inkml:context>
    <inkml:brush xml:id="br0">
      <inkml:brushProperty name="width" value="0.035" units="cm"/>
      <inkml:brushProperty name="height" value="0.035" units="cm"/>
      <inkml:brushProperty name="color" value="#E71224"/>
    </inkml:brush>
  </inkml:definitions>
  <inkml:trace contextRef="#ctx0" brushRef="#br0">187 2 24575,'-7'-1'0,"0"1"0,0 0 0,0 0 0,-1 1 0,1 0 0,0 0 0,0 1 0,0 0 0,0 0 0,1 0 0,-1 1 0,1 0 0,-1 1 0,1-1 0,0 1 0,0 0 0,0 1 0,1-1 0,0 1 0,0 0 0,0 1 0,0-1 0,1 1 0,0 0 0,0 0 0,0 0 0,1 1 0,0-1 0,0 1 0,-2 12 0,2-12 0,1 0 0,0-1 0,1 1 0,0 0 0,0 0 0,0 1 0,1-1 0,0 0 0,2 12 0,-1-15 0,0 0 0,1 0 0,-1-1 0,1 1 0,0-1 0,0 1 0,0-1 0,1 0 0,-1 0 0,1 0 0,-1 0 0,1 0 0,0-1 0,0 1 0,0-1 0,1 0 0,-1 0 0,7 3 0,0 0-97,1 0-1,0-1 1,0 0-1,1-1 1,-1-1-1,1 1 1,-1-2-1,1 0 1,0 0-1,0-1 1,0 0-1,-1-1 0,23-5 1,-17 0-6729</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33.176"/>
    </inkml:context>
    <inkml:brush xml:id="br0">
      <inkml:brushProperty name="width" value="0.035" units="cm"/>
      <inkml:brushProperty name="height" value="0.035" units="cm"/>
      <inkml:brushProperty name="color" value="#E71224"/>
    </inkml:brush>
  </inkml:definitions>
  <inkml:trace contextRef="#ctx0" brushRef="#br0">0 1 24575,'2'27'0,"1"1"0,7 31 0,0 4 0,-1 2 0,1-1 0,1 94 0,-9-128 0,1 1 0,2-1 0,1 0 0,1 0 0,18 46 0,-17-51 0,-2 7-1365</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34.411"/>
    </inkml:context>
    <inkml:brush xml:id="br0">
      <inkml:brushProperty name="width" value="0.035" units="cm"/>
      <inkml:brushProperty name="height" value="0.035" units="cm"/>
      <inkml:brushProperty name="color" value="#E71224"/>
    </inkml:brush>
  </inkml:definitions>
  <inkml:trace contextRef="#ctx0" brushRef="#br0">0 12 24575,'5'0'0,"5"0"0,6 0 0,10 0 0,4 0 0,6 0 0,6 0 0,1 0 0,-8-5 0,-9-1-8191</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36.116"/>
    </inkml:context>
    <inkml:brush xml:id="br0">
      <inkml:brushProperty name="width" value="0.035" units="cm"/>
      <inkml:brushProperty name="height" value="0.035" units="cm"/>
      <inkml:brushProperty name="color" value="#E71224"/>
    </inkml:brush>
  </inkml:definitions>
  <inkml:trace contextRef="#ctx0" brushRef="#br0">0 7 24575,'3'36'0,"2"0"0,1 0 0,2 0 0,2-1 0,16 42 0,-13-40 0,-10-27 0,1 0 0,1-1 0,0 1 0,0-1 0,1 0 0,0-1 0,0 1 0,1-1 0,0 0 0,0-1 0,14 11 0,-19-16 0,1 0 0,0 0 0,0 0 0,0-1 0,0 1 0,0-1 0,0 0 0,1 0 0,-1 0 0,0 0 0,1 0 0,-1-1 0,0 1 0,1-1 0,-1 0 0,1 0 0,-1-1 0,1 1 0,-1 0 0,0-1 0,1 0 0,-1 0 0,0 0 0,0 0 0,0-1 0,0 1 0,0-1 0,0 0 0,0 0 0,0 0 0,0 0 0,-1 0 0,1-1 0,-1 1 0,0-1 0,0 1 0,0-1 0,3-4 0,-1-2 0,0 1 0,0-1 0,-1 1 0,0-1 0,0 0 0,-1 0 0,0 0 0,-1-1 0,0 1 0,-1 0 0,1-1 0,-3-17 0,1 13 0,1-1 0,1 0 0,0 0 0,5-21 0,3 9-455,1-1 0,16-27 0,0 4-6371</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38.369"/>
    </inkml:context>
    <inkml:brush xml:id="br0">
      <inkml:brushProperty name="width" value="0.035" units="cm"/>
      <inkml:brushProperty name="height" value="0.035" units="cm"/>
      <inkml:brushProperty name="color" value="#E71224"/>
    </inkml:brush>
  </inkml:definitions>
  <inkml:trace contextRef="#ctx0" brushRef="#br0">0 392 24575,'1'-5'0,"1"0"0,-1 0 0,1 1 0,0-1 0,0 1 0,0-1 0,1 1 0,4-6 0,6-12 0,39-69 0,-34 62 0,22-48 0,-2-28 0,-38 104 0,0 0 0,0 0 0,0 0 0,0 1 0,1-1 0,-1 0 0,0 0 0,0 0 0,1 0 0,-1 1 0,0-1 0,1 0 0,-1 0 0,1 1 0,-1-1 0,1 0 0,-1 1 0,1-1 0,0 0 0,-1 1 0,1-1 0,0 1 0,-1-1 0,1 1 0,0-1 0,0 1 0,0 0 0,-1-1 0,3 1 0,-2 0 0,0 1 0,0 0 0,0 0 0,0 0 0,0 0 0,0 0 0,0 0 0,0 0 0,0 0 0,0 0 0,0 1 0,-1-1 0,1 0 0,-1 0 0,2 3 0,18 64 0,-19-64 0,23 73 0,-16-55 0,-1 1 0,-1 0 0,-1 0 0,2 31 0,-1-7-1365,-1-30-5461</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39.341"/>
    </inkml:context>
    <inkml:brush xml:id="br0">
      <inkml:brushProperty name="width" value="0.035" units="cm"/>
      <inkml:brushProperty name="height" value="0.035" units="cm"/>
      <inkml:brushProperty name="color" value="#E71224"/>
    </inkml:brush>
  </inkml:definitions>
  <inkml:trace contextRef="#ctx0" brushRef="#br0">0 49 24575,'5'0'0,"10"0"0,11 0 0,11-5 0,3-1 0,9 1 0,-4-4 0,-6-1 0,-13 3 0,-21 1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27.982"/>
    </inkml:context>
    <inkml:brush xml:id="br0">
      <inkml:brushProperty name="width" value="0.035" units="cm"/>
      <inkml:brushProperty name="height" value="0.035" units="cm"/>
      <inkml:brushProperty name="color" value="#E71224"/>
    </inkml:brush>
  </inkml:definitions>
  <inkml:trace contextRef="#ctx0" brushRef="#br0">2 5 24575,'52'-2'0,"34"0"0,-78 2 0,-1 0 0,0 1 0,1 0 0,-1 1 0,0 0 0,0 0 0,0 0 0,10 5 0,-15-5 0,1-1 0,0 1 0,-1 0 0,1 0 0,-1 0 0,0 0 0,0 0 0,0 1 0,0-1 0,0 1 0,0-1 0,-1 1 0,1 0 0,-1-1 0,1 1 0,-1 0 0,0 0 0,0 0 0,-1 0 0,1 0 0,-1 0 0,1 1 0,-1-1 0,0 0 0,0 0 0,0 0 0,-1 0 0,1 0 0,-1 0 0,0 0 0,1 0 0,-3 4 0,-3 9 0,-1 0 0,-1-1 0,0 0 0,-17 22 0,15-21 0,9-16 0,1 1 0,0-1 0,-1 1 0,1-1 0,0 1 0,-1 0 0,1-1 0,0 1 0,0-1 0,-1 1 0,1 0 0,0-1 0,0 1 0,0 0 0,0-1 0,0 1 0,0 0 0,0-1 0,0 1 0,0-1 0,0 1 0,1 0 0,-1-1 0,0 1 0,0 0 0,1-1 0,-1 1 0,0-1 0,1 1 0,-1-1 0,0 1 0,1-1 0,-1 1 0,1-1 0,-1 1 0,1-1 0,-1 1 0,1-1 0,-1 0 0,1 1 0,-1-1 0,1 0 0,-1 0 0,1 1 0,0-1 0,-1 0 0,1 0 0,0 0 0,-1 0 0,1 0 0,-1 0 0,1 0 0,0 0 0,0 0 0,53 4 0,-21-3 0,-30 0 0,0 0 0,0 1 0,0-1 0,0 1 0,0-1 0,0 1 0,0 0 0,-1 0 0,1 0 0,-1 1 0,1-1 0,-1 0 0,0 1 0,0 0 0,0-1 0,0 1 0,0 0 0,-1 0 0,0 0 0,1 0 0,-1 1 0,0-1 0,0 0 0,0 0 0,-1 1 0,1-1 0,-1 0 0,0 1 0,0-1 0,0 0 0,-1 7 0,0-6 0,1 0 0,-1 0 0,0 0 0,0-1 0,0 1 0,-1 0 0,1-1 0,-1 1 0,0-1 0,0 1 0,0-1 0,-1 0 0,1 0 0,-1 0 0,1 0 0,-1 0 0,0 0 0,0-1 0,0 1 0,-1-1 0,1 0 0,0 0 0,-1 0 0,0-1 0,1 1 0,-1-1 0,-4 1 0,-10 1 0,1-1 0,-1-1 0,0-1 0,0 0 0,0-1 0,1-1 0,-1-1 0,1 0 0,-1-1 0,1-1 0,-25-11 0,27 10-1365,1 1-5461</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40.712"/>
    </inkml:context>
    <inkml:brush xml:id="br0">
      <inkml:brushProperty name="width" value="0.035" units="cm"/>
      <inkml:brushProperty name="height" value="0.035" units="cm"/>
      <inkml:brushProperty name="color" value="#E71224"/>
    </inkml:brush>
  </inkml:definitions>
  <inkml:trace contextRef="#ctx0" brushRef="#br0">30 1 24575,'-1'0'0,"0"0"0,0 1 0,0-1 0,-1 1 0,1 0 0,0-1 0,0 1 0,0 0 0,0 0 0,0 0 0,0-1 0,0 1 0,1 0 0,-1 0 0,0 0 0,0 0 0,1 1 0,-1-1 0,1 0 0,-1 0 0,1 0 0,-1 0 0,1 1 0,0-1 0,0 0 0,-1 0 0,1 3 0,-5 40 0,5-40 0,-3 391 0,5-203 0,-2-183 0,0 0 0,1 0 0,0 0 0,0 0 0,0 0 0,1-1 0,1 1 0,0-1 0,0 1 0,0-1 0,1 0 0,0 0 0,10 12 0,-14-20-21,0 0 0,0 0 0,0 0 0,0 0 0,1 0 0,-1 0 0,0 0 0,0 0 0,0 0 0,0 0 0,0 0 0,1 0 0,-1 0 0,0-1 0,0 1 0,0 0-1,0 0 1,0 0 0,0 0 0,1 0 0,-1 0 0,0-1 0,0 1 0,0 0 0,0 0 0,0 0 0,0 0 0,0 0 0,0-1 0,0 1 0,0 0 0,0 0 0,0 0 0,0 0 0,0-1 0,0 1 0,0 0-1,0 0 1,0 0 0,0 0 0,0-1 0,0 1 0,0 0 0,0 0 0,0 0 0,0 0 0,0 0 0,0-1 0,0 1 0,0 0 0,-1 0 0,1 0 0,0 0 0,0 0 0,0 0 0,0-1 0,0 1 0,0 0 0,-1 0-1,1 0 1,0 0-60,-3-12-6745</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42.633"/>
    </inkml:context>
    <inkml:brush xml:id="br0">
      <inkml:brushProperty name="width" value="0.035" units="cm"/>
      <inkml:brushProperty name="height" value="0.035" units="cm"/>
      <inkml:brushProperty name="color" value="#E71224"/>
    </inkml:brush>
  </inkml:definitions>
  <inkml:trace contextRef="#ctx0" brushRef="#br0">0 1 24575,'2'22'0,"1"1"0,0 0 0,2-1 0,8 25 0,9 47 0,-7 12-682,2 168-1,-17-252-6143</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44.230"/>
    </inkml:context>
    <inkml:brush xml:id="br0">
      <inkml:brushProperty name="width" value="0.035" units="cm"/>
      <inkml:brushProperty name="height" value="0.035" units="cm"/>
      <inkml:brushProperty name="color" value="#E71224"/>
    </inkml:brush>
  </inkml:definitions>
  <inkml:trace contextRef="#ctx0" brushRef="#br0">0 1 24575,'5'0'0,"5"0"0,7 0 0,4 0 0,3 0 0,6 0 0,8 0 0,1 0 0,-1 0 0,-2 0 0,1 0 0,3 0 0,0 0 0,-7 0-8191</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45.117"/>
    </inkml:context>
    <inkml:brush xml:id="br0">
      <inkml:brushProperty name="width" value="0.035" units="cm"/>
      <inkml:brushProperty name="height" value="0.035" units="cm"/>
      <inkml:brushProperty name="color" value="#E71224"/>
    </inkml:brush>
  </inkml:definitions>
  <inkml:trace contextRef="#ctx0" brushRef="#br0">0 1 24575,'0'4'0,"0"7"0,0 5 0,0 5 0,5-2 0,1 1 0,0 2 0,-1 1 0,-2-8 0,-1-6-8191</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47.151"/>
    </inkml:context>
    <inkml:brush xml:id="br0">
      <inkml:brushProperty name="width" value="0.035" units="cm"/>
      <inkml:brushProperty name="height" value="0.035" units="cm"/>
      <inkml:brushProperty name="color" value="#E71224"/>
    </inkml:brush>
  </inkml:definitions>
  <inkml:trace contextRef="#ctx0" brushRef="#br0">59 55 24575,'-2'0'0,"-1"0"0,1 1 0,0 0 0,-1-1 0,1 1 0,0 0 0,0 0 0,-1 0 0,1 1 0,0-1 0,0 0 0,0 1 0,0 0 0,1-1 0,-1 1 0,0 0 0,1 0 0,-1 0 0,1 0 0,-1 0 0,1 0 0,0 0 0,0 0 0,0 1 0,0-1 0,1 0 0,-1 1 0,1-1 0,-1 0 0,1 6 0,-3 9 0,1 1 0,1 0 0,1 20 0,0-27 0,-1 37 0,-1-31 0,1-1 0,1 1 0,1 0 0,1 0 0,0-1 0,5 20 0,-5-32 0,1 1 0,0-1 0,0 0 0,0 0 0,0-1 0,1 1 0,-1 0 0,1-1 0,0 0 0,0 0 0,0 0 0,1-1 0,-1 1 0,0-1 0,1 0 0,0 0 0,0-1 0,-1 0 0,1 1 0,0-1 0,9 0 0,-7 0 0,-1 0 0,0 0 0,1-1 0,-1 0 0,1 0 0,-1-1 0,0 0 0,1 0 0,-1 0 0,0-1 0,0 0 0,0 0 0,0 0 0,0-1 0,0 0 0,-1 0 0,6-4 0,-8 3 0,0 1 0,-1-1 0,1 0 0,-1 0 0,0 0 0,0 0 0,0 0 0,0-1 0,-1 1 0,1 0 0,-1-1 0,-1 1 0,1-1 0,0-7 0,-4-74 0,1 50 0,1 3 0,-7-42 0,6 66 0,0 0 0,0 0 0,0 0 0,-1 0 0,0 1 0,-1-1 0,0 1 0,0 0 0,-11-14 0,13 19 0,-1 1 0,1-1 0,-1 1 0,0-1 0,1 1 0,-1 0 0,0 0 0,-1 0 0,1 0 0,0 1 0,0-1 0,-1 1 0,1 0 0,-1 0 0,1 0 0,-1 1 0,0-1 0,1 1 0,-1-1 0,1 1 0,-1 1 0,0-1 0,-4 1 0,2 1 0,0-1 0,1 1 0,-1 1 0,1-1 0,-1 1 0,1 0 0,0 0 0,0 0 0,0 1 0,1 0 0,-1 0 0,1 0 0,-5 6 0,-5 6-1365,4-5-5461</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49.122"/>
    </inkml:context>
    <inkml:brush xml:id="br0">
      <inkml:brushProperty name="width" value="0.035" units="cm"/>
      <inkml:brushProperty name="height" value="0.035" units="cm"/>
      <inkml:brushProperty name="color" value="#E71224"/>
    </inkml:brush>
  </inkml:definitions>
  <inkml:trace contextRef="#ctx0" brushRef="#br0">0 1 24575,'2'31'0,"10"58"0,-7-57 0,3 55 0,-9-53 0,0-23 0,0 0 0,1 0 0,1 0 0,0 0 0,2 14 0,-2-23 0,0 1 0,0-1 0,0 1 0,0-1 0,0 0 0,0 1 0,1-1 0,-1 0 0,1 0 0,-1 0 0,1 0 0,0 0 0,0 0 0,0-1 0,0 1 0,0-1 0,0 1 0,0-1 0,1 0 0,-1 1 0,1-1 0,-1 0 0,0-1 0,1 1 0,0 0 0,-1-1 0,3 1 0,14 1-124,-1 0 0,1-1 0,0-1 0,0-1 0,-1 0 0,1-1-1,-1-2 1,0 1 0,1-2 0,27-11 0,-29 6-6702</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50.247"/>
    </inkml:context>
    <inkml:brush xml:id="br0">
      <inkml:brushProperty name="width" value="0.035" units="cm"/>
      <inkml:brushProperty name="height" value="0.035" units="cm"/>
      <inkml:brushProperty name="color" value="#E71224"/>
    </inkml:brush>
  </inkml:definitions>
  <inkml:trace contextRef="#ctx0" brushRef="#br0">0 1 24575,'5'0'0,"5"0"0,6 0 0,5 0 0,8 0 0,3 0 0,-4 0-8191</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51.077"/>
    </inkml:context>
    <inkml:brush xml:id="br0">
      <inkml:brushProperty name="width" value="0.035" units="cm"/>
      <inkml:brushProperty name="height" value="0.035" units="cm"/>
      <inkml:brushProperty name="color" value="#E71224"/>
    </inkml:brush>
  </inkml:definitions>
  <inkml:trace contextRef="#ctx0" brushRef="#br0">0 1 24575,'9'0'0,"12"0"0,12 4 0,8 2 0,3 0 0,-7 3 0,-5 0 0,-7-1-8191</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53.108"/>
    </inkml:context>
    <inkml:brush xml:id="br0">
      <inkml:brushProperty name="width" value="0.035" units="cm"/>
      <inkml:brushProperty name="height" value="0.035" units="cm"/>
      <inkml:brushProperty name="color" value="#E71224"/>
    </inkml:brush>
  </inkml:definitions>
  <inkml:trace contextRef="#ctx0" brushRef="#br0">0 443 24575,'2'-1'0,"-1"1"0,0-1 0,0 1 0,0-1 0,0 1 0,0-1 0,0 0 0,0 0 0,0 1 0,0-1 0,0 0 0,0 0 0,0 0 0,0 0 0,-1 0 0,1 0 0,0 0 0,-1 0 0,1 0 0,-1-1 0,1 1 0,-1 0 0,1 0 0,-1-1 0,0 1 0,0 0 0,0-2 0,5-41 0,-4 39 0,1-52 0,-1 28 0,0 1 0,2 0 0,1 0 0,14-47 0,-13 58 0,-2 6 0,0 0 0,1 0 0,1 0 0,0 0 0,11-17 0,-14 26 0,-1 0 0,1 1 0,-1-1 0,1 1 0,-1-1 0,1 1 0,0 0 0,-1 0 0,1 0 0,0 0 0,0 0 0,0 0 0,0 0 0,0 0 0,0 1 0,0-1 0,0 1 0,0 0 0,0-1 0,0 1 0,1 0 0,-1 0 0,0 0 0,0 1 0,0-1 0,0 0 0,0 1 0,0 0 0,0-1 0,0 1 0,0 0 0,0 0 0,0 0 0,0 0 0,0 0 0,-1 1 0,1-1 0,2 3 0,4 3 5,0 0-1,0 0 1,-1 1 0,0 0-1,0 1 1,-1-1-1,-1 1 1,1 0 0,-1 1-1,-1-1 1,1 1-1,-2 0 1,1 0-1,-2 1 1,1-1 0,1 16-1,0 17-200,-1 0 0,-6 76 0,0-63-659,3-43-5971</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54.218"/>
    </inkml:context>
    <inkml:brush xml:id="br0">
      <inkml:brushProperty name="width" value="0.035" units="cm"/>
      <inkml:brushProperty name="height" value="0.035" units="cm"/>
      <inkml:brushProperty name="color" value="#E71224"/>
    </inkml:brush>
  </inkml:definitions>
  <inkml:trace contextRef="#ctx0" brushRef="#br0">0 1 24575,'5'0'0,"10"0"0,12 0 0,5 0 0,2 0 0,-4 0-819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31.440"/>
    </inkml:context>
    <inkml:brush xml:id="br0">
      <inkml:brushProperty name="width" value="0.035" units="cm"/>
      <inkml:brushProperty name="height" value="0.035" units="cm"/>
      <inkml:brushProperty name="color" value="#E71224"/>
    </inkml:brush>
  </inkml:definitions>
  <inkml:trace contextRef="#ctx0" brushRef="#br0">91 77 24575,'-14'-1'0,"10"1"0,1-1 0,-1 1 0,1 0 0,-1 0 0,1 0 0,-1 0 0,1 1 0,-1-1 0,1 1 0,-1 0 0,-4 2 0,8-3 0,-1 0 0,1 1 0,0-1 0,0 0 0,0 0 0,0 0 0,0 0 0,0 1 0,0-1 0,0 0 0,0 0 0,0 0 0,-1 0 0,1 1 0,0-1 0,0 0 0,0 0 0,0 0 0,0 1 0,0-1 0,0 0 0,1 0 0,-1 0 0,0 1 0,0-1 0,0 0 0,0 0 0,0 0 0,0 0 0,0 1 0,0-1 0,0 0 0,0 0 0,1 0 0,-1 0 0,0 0 0,0 1 0,0-1 0,0 0 0,0 0 0,1 0 0,-1 0 0,0 0 0,0 0 0,0 0 0,0 0 0,1 1 0,-1-1 0,0 0 0,0 0 0,0 0 0,1 0 0,-1 0 0,0 0 0,0 0 0,0 0 0,1 0 0,-1 0 0,0 0 0,0-1 0,1 2 0,0-1 0,0 0 0,0 0 0,0 0 0,-1 0 0,1 0 0,0 0 0,0 0 0,0-1 0,-1 1 0,1 0 0,0 0 0,0-1 0,0 1 0,-1 0 0,1-1 0,0 1 0,-1-1 0,2 0 0,0-1 0,0-1 0,-1 1 0,1-1 0,-1 1 0,0-1 0,0 0 0,0 1 0,0-1 0,0 0 0,0 0 0,-1 1 0,0-1 0,1 0 0,-1 0 0,0 0 0,-1-3 0,1 5 0,0-1 0,0 1 0,0-1 0,0 1 0,-1-1 0,1 1 0,-1-1 0,1 1 0,-1-1 0,0 1 0,1 0 0,-1-1 0,0 1 0,0 0 0,0-1 0,0 1 0,0 0 0,0 0 0,0 0 0,0 0 0,-1 0 0,1 0 0,0 1 0,0-1 0,-1 0 0,1 0 0,-1 1 0,1-1 0,-1 1 0,-2-1 0,2 1 0,1 1 0,-1-1 0,1 0 0,-1 1 0,0-1 0,1 1 0,-1 0 0,1 0 0,0-1 0,-1 1 0,1 0 0,0 0 0,-1 0 0,1 1 0,0-1 0,0 0 0,0 0 0,0 1 0,0-1 0,0 0 0,0 1 0,0-1 0,1 1 0,-1-1 0,1 1 0,-1-1 0,1 1 0,-1 0 0,1-1 0,0 1 0,0-1 0,0 1 0,0 0 0,0 2 0,0 1 0,-1-1 0,1 0 0,0 0 0,0 0 0,0 0 0,1 0 0,0 0 0,0 0 0,0 0 0,0 0 0,0 0 0,1 0 0,2 5 0,-3-8-29,0 0 0,0 0 0,-1 0 0,1 0 0,0-1 0,0 1 0,0 0 0,0-1 0,0 1 0,0 0 0,0-1 0,0 1 0,0-1 0,1 0 0,-1 1-1,0-1 1,0 0 0,0 0 0,0 0 0,1 0 0,-1 0 0,0 0 0,0 0 0,0 0 0,1 0 0,-1 0 0,0-1 0,0 1 0,0 0 0,0-1 0,0 1 0,0-1 0,0 1 0,0-1 0,0 0 0,0 1-1,0-1 1,0 0 0,0 0 0,0 0 0,0 0 0,-1 0 0,1 0 0,0 0 0,-1 0 0,2-1 0,4-12-6797</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0:57.972"/>
    </inkml:context>
    <inkml:brush xml:id="br0">
      <inkml:brushProperty name="width" value="0.035" units="cm"/>
      <inkml:brushProperty name="height" value="0.035" units="cm"/>
      <inkml:brushProperty name="color" value="#E71224"/>
    </inkml:brush>
  </inkml:definitions>
  <inkml:trace contextRef="#ctx0" brushRef="#br0">7 75 24575,'1'41'0,"1"0"0,12 62 0,-4-5 0,-9-73 0,1 0 0,1-1 0,8 26 0,-9-32 0,-12-28 0,-11-30 0,14 11 0,1-1 0,2 0 0,2 0 0,0 0 0,2-1 0,4-31 0,-2-20 0,-2 75 0,1 0 0,0 0 0,0-1 0,0 1 0,1 0 0,0 0 0,1 1 0,-1-1 0,1 0 0,0 1 0,1 0 0,6-9 0,-8 12 0,-1 1 0,1 0 0,0 0 0,0 0 0,1 0 0,-1 0 0,0 0 0,1 1 0,-1-1 0,1 1 0,-1 0 0,1 0 0,0 0 0,-1 0 0,1 0 0,0 0 0,0 1 0,0-1 0,-1 1 0,1 0 0,0 0 0,0 0 0,0 0 0,0 0 0,0 1 0,-1-1 0,1 1 0,0 0 0,0 0 0,-1 0 0,1 0 0,0 0 0,3 3 0,-1 0 0,0-1 0,0 1 0,-1 0 0,1 0 0,-1 1 0,0-1 0,-1 1 0,1 0 0,-1 0 0,0 0 0,0 0 0,0 1 0,-1-1 0,0 1 0,0-1 0,0 1 0,-1 0 0,1 0 0,-2 0 0,1 0 0,-1 0 0,1 0 0,-3 12 0,2-8 0,-2 0 0,1 1 0,-1-1 0,-1 0 0,0 0 0,0 0 0,-1 0 0,0-1 0,0 0 0,-1 1 0,-1-2 0,-12 17 0,17-24 0,0 1 0,0-1 0,0 0 0,0 0 0,0 1 0,1-1 0,-1 0 0,0 1 0,1-1 0,-1 1 0,1-1 0,0 1 0,-1-1 0,1 1 0,0-1 0,0 1 0,0-1 0,0 1 0,0-1 0,0 1 0,1 0 0,-1-1 0,0 1 0,1-1 0,-1 0 0,1 1 0,0-1 0,-1 1 0,1-1 0,0 0 0,0 1 0,0-1 0,0 0 0,0 0 0,0 0 0,0 0 0,0 0 0,2 1 0,8 8 0,1-1 0,0 0 0,20 10 0,7 7 0,1 17-1365,-34-40-5461</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1:00.789"/>
    </inkml:context>
    <inkml:brush xml:id="br0">
      <inkml:brushProperty name="width" value="0.035" units="cm"/>
      <inkml:brushProperty name="height" value="0.035" units="cm"/>
      <inkml:brushProperty name="color" value="#E71224"/>
    </inkml:brush>
  </inkml:definitions>
  <inkml:trace contextRef="#ctx0" brushRef="#br0">0 374 24575,'2'-143'0,"-3"-88"0,4 248 0,0 0 0,2 0 0,0-1 0,0 0 0,2 0 0,0-1 0,9 16 0,4 8 0,-18-32 0,1 1 0,0-1 0,1-1 0,0 1 0,0 0 0,0-1 0,1 0 0,0 0 0,0 0 0,0-1 0,1 0 0,-1 0 0,2 0 0,-1 0 0,13 6 0,6 4 0,-20-11 0,1 0 0,0-1 0,0 0 0,0 0 0,0 0 0,9 2 0,-14-5 0,0 0 0,0 0 0,1 0 0,-1 0 0,0 0 0,0 0 0,0 0 0,1 0 0,-1-1 0,0 1 0,0 0 0,0-1 0,0 1 0,0-1 0,0 1 0,0-1 0,1 0 0,-2 1 0,1-1 0,0 0 0,0 0 0,0 0 0,0 0 0,0 0 0,-1 0 0,1 0 0,0 0 0,-1 0 0,1 0 0,-1 0 0,1 0 0,-1 0 0,0 0 0,1-1 0,-1 1 0,0 0 0,0 0 0,0 0 0,0-1 0,0 0 0,3-26 0,-1 0 0,-1 0 0,-5-36 0,2-3 0,-4 14-1365,0 31-5461</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1:03.290"/>
    </inkml:context>
    <inkml:brush xml:id="br0">
      <inkml:brushProperty name="width" value="0.035" units="cm"/>
      <inkml:brushProperty name="height" value="0.035" units="cm"/>
      <inkml:brushProperty name="color" value="#E71224"/>
    </inkml:brush>
  </inkml:definitions>
  <inkml:trace contextRef="#ctx0" brushRef="#br0">0 1 24575,'1'52'0,"1"0"0,13 67 0,-11-97 0,1-1 0,1 1 0,1-1 0,0 0 0,2-1 0,1 0 0,0 0 0,15 19 0,-23-36 0,1 0 0,0 0 0,0 0 0,0 0 0,1 0 0,-1-1 0,1 1 0,-1-1 0,1 0 0,0 0 0,0-1 0,0 1 0,0-1 0,0 0 0,0 0 0,0 0 0,1 0 0,-1-1 0,5 1 0,8-1 0,1-1 0,0-1 0,23-5 0,-12 3 0,0-2-1365,-7-2-5461</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1:04.634"/>
    </inkml:context>
    <inkml:brush xml:id="br0">
      <inkml:brushProperty name="width" value="0.035" units="cm"/>
      <inkml:brushProperty name="height" value="0.035" units="cm"/>
      <inkml:brushProperty name="color" value="#E71224"/>
    </inkml:brush>
  </inkml:definitions>
  <inkml:trace contextRef="#ctx0" brushRef="#br0">0 1 24575,'5'0'0,"10"0"0,7 0 0,5 0 0,1 0 0,2 0 0,3 0 0,-3 0-8191</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1:05.742"/>
    </inkml:context>
    <inkml:brush xml:id="br0">
      <inkml:brushProperty name="width" value="0.035" units="cm"/>
      <inkml:brushProperty name="height" value="0.035" units="cm"/>
      <inkml:brushProperty name="color" value="#E71224"/>
    </inkml:brush>
  </inkml:definitions>
  <inkml:trace contextRef="#ctx0" brushRef="#br0">0 1 24575,'5'0'0,"5"0"0,7 4 0,8 2 0,5 0 0,2-2 0,-5 4 0,-2 0 0,-1-1 0,0-2 0,0-2 0,-4 4 0,-5-1-8191</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1:06.962"/>
    </inkml:context>
    <inkml:brush xml:id="br0">
      <inkml:brushProperty name="width" value="0.035" units="cm"/>
      <inkml:brushProperty name="height" value="0.035" units="cm"/>
      <inkml:brushProperty name="color" value="#E71224"/>
    </inkml:brush>
  </inkml:definitions>
  <inkml:trace contextRef="#ctx0" brushRef="#br0">48 1 24575,'0'49'0,"-3"0"0,-10 57 0,6-52 0,3 0 0,4 67 0,0-105 0,-2-4-62,-3-17 217,-3-19-1613,3 4-5368</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1:08.744"/>
    </inkml:context>
    <inkml:brush xml:id="br0">
      <inkml:brushProperty name="width" value="0.035" units="cm"/>
      <inkml:brushProperty name="height" value="0.035" units="cm"/>
      <inkml:brushProperty name="color" value="#E71224"/>
    </inkml:brush>
  </inkml:definitions>
  <inkml:trace contextRef="#ctx0" brushRef="#br0">0 1 24575,'1'0'0,"21"-1"0,-1 1 0,1 2 0,-1 0 0,35 8 0,-50-8 0,0 0 0,-1 0 0,1 0 0,-1 1 0,0 0 0,0 0 0,0 0 0,0 1 0,0-1 0,-1 1 0,0 0 0,0 1 0,0-1 0,0 1 0,0-1 0,-1 1 0,0 0 0,0 1 0,0-1 0,-1 0 0,4 12 0,1 9 0,-1 0 0,-1 0 0,-1 1 0,-1 0 0,-1 0 0,-4 50 0,0-70 9,1-1-1,-1 1 1,-1 0-1,1-1 1,-1 1 0,0-1-1,-1 0 1,1 0-1,-1 0 1,0 0-1,-1-1 1,0 1-1,-6 5 1,2-3-195,1 0 1,-1-1-1,0 0 0,-1-1 1,0 0-1,0-1 1,-15 7-1,7-7-664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1:49.964"/>
    </inkml:context>
    <inkml:brush xml:id="br0">
      <inkml:brushProperty name="width" value="0.035" units="cm"/>
      <inkml:brushProperty name="height" value="0.035" units="cm"/>
      <inkml:brushProperty name="color" value="#E71224"/>
    </inkml:brush>
  </inkml:definitions>
  <inkml:trace contextRef="#ctx0" brushRef="#br0">1375 3553 24575,'2'-100'0,"-4"-114"0,-11 121 0,7 60 0,-3-59 0,10-648 0,-2 720 0,-2-1 0,0 1 0,-1 0 0,-13-38 0,8 30 0,-8-43 0,12 40 0,0 1 0,-3 0 0,0 1 0,-23-52 0,21 55 0,1 1 0,1-2 0,-8-51 0,9 42 0,-17-54 0,-6-3 0,-20-52 0,42 119 0,0-1 0,1 1 0,2-1 0,-4-47 0,5 40 0,0 0 0,-14-46 0,0-11 0,16 73 0,-1 1 0,0-1 0,-2 1 0,-11-32 0,8 28 0,1 0 0,2-1 0,0 0 0,-3-38 0,2 17 0,1 0 0,3 1 0,3-45 0,0 47 0,-2-1 0,-6-52 0,6 89 0,0-1 0,0 1 0,0 0 0,-1 0 0,0 0 0,1 0 0,-1 0 0,0 1 0,-1-1 0,1 1 0,-1-1 0,1 1 0,-1 0 0,0 0 0,0 0 0,-1 0 0,1 0 0,-1 1 0,1 0 0,-1-1 0,0 1 0,0 1 0,-5-3 0,-9-1 0,0 0 0,0 1 0,-1 1 0,-24 0 0,-24-6 0,37 2 0,0 1 0,0 1 0,0 2 0,-1 0 0,1 3 0,-56 5 0,21 4 0,0-3 0,-116-3 0,174-3 0,-1-1 0,1 0 0,0-1 0,0 1 0,0-1 0,0-1 0,0 1 0,-12-8 0,18 9 0,0 1 0,-1-1 0,1 0 0,0 0 0,0 0 0,0 0 0,0 0 0,0 0 0,0 0 0,0 0 0,1-1 0,-1 1 0,0 0 0,1 0 0,-1-1 0,1 1 0,-1 0 0,1-1 0,0 1 0,-1-2 0,1 1 0,1-1 0,-1 1 0,1 0 0,-1 0 0,1 0 0,0 0 0,0 0 0,0 0 0,0 0 0,0 1 0,0-1 0,1 0 0,-1 1 0,1-1 0,-1 0 0,1 1 0,3-3 0,52-36-1365,-27 24-5461</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1:51.558"/>
    </inkml:context>
    <inkml:brush xml:id="br0">
      <inkml:brushProperty name="width" value="0.035" units="cm"/>
      <inkml:brushProperty name="height" value="0.035" units="cm"/>
      <inkml:brushProperty name="color" value="#E71224"/>
    </inkml:brush>
  </inkml:definitions>
  <inkml:trace contextRef="#ctx0" brushRef="#br0">0 1 24575,'0'4'0,"5"2"0,1 5 0,4-1 0,5-1 0,0 2 0,-2 4 0,-4-1-8191</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1:53.951"/>
    </inkml:context>
    <inkml:brush xml:id="br0">
      <inkml:brushProperty name="width" value="0.035" units="cm"/>
      <inkml:brushProperty name="height" value="0.035" units="cm"/>
      <inkml:brushProperty name="color" value="#E71224"/>
    </inkml:brush>
  </inkml:definitions>
  <inkml:trace contextRef="#ctx0" brushRef="#br0">0 1 24575,'5'0'0,"5"0"0,6 4 0,5 2 0,-1 5 0,0-1 0,-3 4 0,0-2 0,-3 3 0,1-2 0,2 2 0,3 2 0,2-1 0,-2 1 0,0-3 0,-4 6 0,0-1 0,-2-3-8191</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38.821"/>
    </inkml:context>
    <inkml:brush xml:id="br0">
      <inkml:brushProperty name="width" value="0.035" units="cm"/>
      <inkml:brushProperty name="height" value="0.035" units="cm"/>
      <inkml:brushProperty name="color" value="#E71224"/>
    </inkml:brush>
  </inkml:definitions>
  <inkml:trace contextRef="#ctx0" brushRef="#br0">157 23 24575,'-65'-20'0,"62"20"0,1-1 0,-1 1 0,0 0 0,1 0 0,-1 0 0,1 1 0,-1-1 0,0 1 0,1-1 0,-1 1 0,1 0 0,-1 0 0,1 0 0,0 0 0,-1 0 0,1 0 0,0 1 0,0-1 0,0 1 0,0 0 0,0 0 0,0 0 0,0-1 0,1 1 0,-1 1 0,1-1 0,-1 0 0,1 0 0,0 1 0,0-1 0,0 0 0,0 1 0,0 3 0,-1 0 0,1 0 0,0 0 0,1 1 0,-1-1 0,1 0 0,1 0 0,-1 1 0,1-1 0,0 0 0,0 0 0,1 0 0,0 0 0,4 9 0,-4-11 0,0 0 0,0 0 0,1 0 0,0-1 0,0 1 0,0-1 0,0 0 0,0 0 0,0 0 0,1 0 0,0-1 0,-1 1 0,1-1 0,0 0 0,6 2 0,5 2 0,0-2 0,1 0 0,17 2 0,-21-5 0,-1 2 0,1-1 0,0 1 0,-1 1 0,19 8 0,-22-7 0,1 1 0,-1 0 0,0 1 0,0 0 0,-1 0 0,9 11 0,-12-13 0,0 0 0,-1 0 0,1 0 0,-1 0 0,-1 1 0,1-1 0,-1 1 0,0 0 0,0-1 0,0 1 0,-1 0 0,1 7 0,-3-10 0,1 0 0,-1 0 0,0 0 0,0 0 0,0 0 0,-1 0 0,1 0 0,-1 0 0,1 0 0,-1 0 0,0-1 0,0 1 0,0-1 0,0 1 0,-1-1 0,1 0 0,-1 0 0,1 0 0,-1 0 0,0-1 0,0 1 0,0-1 0,-3 2 0,-5 2 0,1 0 0,-1-1 0,-1 0 0,1-1 0,-14 3 0,15-5 0,1 0 0,-1 0 0,0-1 0,1 0 0,-1-1 0,0 0 0,1-1 0,-1 0 0,1 0 0,0-1 0,0 0 0,0-1 0,0 0 0,-16-10 0,20 10 0,0 0 0,-1 0 0,2-1 0,-1 1 0,1-1 0,-1 0 0,1-1 0,1 1 0,-1-1 0,1 1 0,0-1 0,0 0 0,1 0 0,-1-1 0,1 1 0,1 0 0,-1-1 0,1 1 0,0-1 0,1 1 0,0-1 0,1-11 0,-1 16 0,0 0 0,0 0 0,1 0 0,-1 0 0,1 0 0,0 0 0,-1 0 0,1 0 0,0 0 0,0 1 0,0-1 0,1 0 0,-1 1 0,0-1 0,0 1 0,1-1 0,-1 1 0,1-1 0,0 1 0,-1 0 0,1 0 0,0 0 0,0 0 0,-1 0 0,5-1 0,5-1 0,0 0 0,0 1 0,22-3 0,-25 5 0,1-1 0,-1 0 0,1-1 0,-1 0 0,11-4 0,-7-1 0,0-1 0,0 0 0,-1 0 0,-1-1 0,1 0 0,8-11 0,-15 17 0,-1-1 0,0 1 0,0 0 0,0-1 0,-1 1 0,1-1 0,-1 0 0,0 0 0,0 0 0,0 0 0,-1 0 0,0-1 0,1 1 0,-1 0 0,-1-1 0,1 1 0,-1-1 0,1 1 0,-1-1 0,-1 1 0,1-1 0,-1-4 0,-1 7 7,1-1 0,-1 0 0,1 1 0,-1-1 0,0 1 1,0-1-1,0 1 0,0 0 0,-1 0 0,1 0 0,0 0 0,-1 0 0,1 1 0,-1-1 0,0 1 0,-4-2 0,-48-11-1492,34 11-5341</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1:56.405"/>
    </inkml:context>
    <inkml:brush xml:id="br0">
      <inkml:brushProperty name="width" value="0.035" units="cm"/>
      <inkml:brushProperty name="height" value="0.035" units="cm"/>
      <inkml:brushProperty name="color" value="#E71224"/>
    </inkml:brush>
  </inkml:definitions>
  <inkml:trace contextRef="#ctx0" brushRef="#br0">0 68 24575,'5'0'0,"10"0"0,7 0 0,0-5 0,5-1 0,-2-4 0,0-1 0,-6-2 0,0 0 0,-4 3-8191</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2:05.364"/>
    </inkml:context>
    <inkml:brush xml:id="br0">
      <inkml:brushProperty name="width" value="0.035" units="cm"/>
      <inkml:brushProperty name="height" value="0.035" units="cm"/>
      <inkml:brushProperty name="color" value="#E71224"/>
    </inkml:brush>
  </inkml:definitions>
  <inkml:trace contextRef="#ctx0" brushRef="#br0">616 3239 24575,'0'-2050'0,"-2"2012"0,-2 0 0,-2 0 0,-1 1 0,-14-39 0,9 30 0,1 1 0,-4-49 0,1 6 0,9 59 0,0 0 0,0-36 0,8-64 0,-5-112 0,1 238 0,0 0 0,1 0 0,-1 1 0,0-1 0,0 0 0,0 1 0,-1-1 0,1 1 0,-1-1 0,1 1 0,-1 0 0,0 0 0,0 0 0,0 0 0,0 0 0,0 0 0,0 0 0,0 0 0,-1 1 0,1-1 0,-1 1 0,1 0 0,-1 0 0,1 0 0,-1 0 0,0 0 0,0 1 0,1-1 0,-6 0 0,-11-1 0,1 1 0,-1 0 0,-27 3 0,20-1 0,-130 12 0,92-6 0,12-7 0,49 0 0,0-1 0,0 1 0,1 0 0,-1-1 0,1 0 0,-1 1 0,0-1 0,1 0 0,-1 0 0,1-1 0,0 1 0,-1 0 0,1-1 0,0 1 0,0-1 0,-3-3 0,4 4 0,1 0 0,0 0 0,0 0 0,-1 0 0,1 0 0,0 0 0,0 0 0,0 0 0,0 0 0,0 0 0,0 0 0,0 0 0,0 0 0,1 0 0,-1 0 0,0 0 0,1 0 0,-1 0 0,1 0 0,-1 0 0,1 0 0,-1 1 0,1-1 0,-1 0 0,1 0 0,0 1 0,-1-1 0,1 0 0,0 1 0,0-1 0,0 0 0,1 0 0,32-21 0,-31 20 0,114-68-1365,-93 55-5461</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2:06.755"/>
    </inkml:context>
    <inkml:brush xml:id="br0">
      <inkml:brushProperty name="width" value="0.035" units="cm"/>
      <inkml:brushProperty name="height" value="0.035" units="cm"/>
      <inkml:brushProperty name="color" value="#E71224"/>
    </inkml:brush>
  </inkml:definitions>
  <inkml:trace contextRef="#ctx0" brushRef="#br0">0 1 24575,'5'0'0,"1"4"0,4 2 0,0 4 0,4 5 0,3 5 0,-1 3 0,1-3 0,-2-4-8191</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2:14.561"/>
    </inkml:context>
    <inkml:brush xml:id="br0">
      <inkml:brushProperty name="width" value="0.035" units="cm"/>
      <inkml:brushProperty name="height" value="0.035" units="cm"/>
      <inkml:brushProperty name="color" value="#E71224"/>
    </inkml:brush>
  </inkml:definitions>
  <inkml:trace contextRef="#ctx0" brushRef="#br0">556 4213 24575,'-1'-1'0,"0"1"0,0-1 0,0 0 0,-1 1 0,1-1 0,0 0 0,0 0 0,0 1 0,0-1 0,0 0 0,1 0 0,-1 0 0,0 0 0,0-1 0,1 1 0,-1 0 0,0 0 0,0-3 0,-12-28 0,10 26 0,-2-10 0,0-1 0,1 1 0,0-1 0,2 0 0,-2-26 0,6-90 0,1 50 0,-2 40 0,2-1 0,10-53 0,-8 51 0,-1 0 0,-4-78 0,2-32 0,10 68 0,-6 53 0,2-46 0,-9-459 0,-26 228 0,14 242 0,9 50 0,0 1 0,-1-31 0,2 5 0,-2 0 0,-2 1 0,-21-71 0,13 47 0,-7-81 0,-9-42 0,23 148 0,3 0 0,1 0 0,2-58 0,-1-10 0,-1 80 0,-1-1 0,-12-42 0,9 44 0,1 0 0,-4-51 0,9-229 0,4 150 0,7 105 0,-6 45 0,-1 0 0,0 0 0,-1-1 0,0 1 0,-1-16 0,0 23 0,0 1 0,-1 0 0,1-1 0,-1 1 0,0 0 0,0 0 0,0-1 0,0 1 0,0 0 0,0 0 0,-1 0 0,1 0 0,-1 0 0,1 0 0,-1 1 0,0-1 0,1 0 0,-1 1 0,0-1 0,0 1 0,0 0 0,0 0 0,-1 0 0,1 0 0,0 0 0,0 0 0,-1 0 0,-2 0 0,-5-1 0,0 0 0,0 1 0,-1 0 0,1 0 0,0 1 0,-1 1 0,1 0 0,0 0 0,-11 3 0,-8 4 0,-49 21 0,21-7 0,45-20 0,12-7 0,22-19 0,42-28 0,61-27-1365,-102 65-5461</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2:16.422"/>
    </inkml:context>
    <inkml:brush xml:id="br0">
      <inkml:brushProperty name="width" value="0.035" units="cm"/>
      <inkml:brushProperty name="height" value="0.035" units="cm"/>
      <inkml:brushProperty name="color" value="#E71224"/>
    </inkml:brush>
  </inkml:definitions>
  <inkml:trace contextRef="#ctx0" brushRef="#br0">0 1 24575,'5'0'0,"1"4"0,4 2 0,1 4 0,2 5 0,0 5 0,2-2 0,2 6 0,4-2 0,2 0 0,2 1 0,-4-4-8191</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1:58:03.459"/>
    </inkml:context>
    <inkml:brush xml:id="br0">
      <inkml:brushProperty name="width" value="0.5" units="cm"/>
      <inkml:brushProperty name="height" value="1" units="cm"/>
      <inkml:brushProperty name="color" value="#FFFC00"/>
      <inkml:brushProperty name="tip" value="rectangle"/>
      <inkml:brushProperty name="rasterOp" value="maskPen"/>
      <inkml:brushProperty name="ignorePressure" value="1"/>
    </inkml:brush>
  </inkml:definitions>
  <inkml:trace contextRef="#ctx0" brushRef="#br0">12921 308,'-754'0,"733"-1,-1-1,-35-9,34 6,0 1,-26-1,17 4,1-1,-57-12,-68-8,33 3,22 4,68 11,-1 1,-34 1,-20 0,20-11,50 9,0 0,-19-1,-23 4,41 2,0-2,0 0,1 0,-30-8,18 3,1 1,-1 1,0 2,-50 2,46 1,1-2,-1-1,-40-7,28 2,1 1,-1 3,-66 4,-57-4,101-10,51 9,-1 0,-20-1,-319 2,184 5,-580-2,725 2,0 0,-32 8,30-4,-48 3,53-8,-46 11,46-7,-48 4,-101 10,96-8,10 1,46-7,-1 0,-31 0,-104-7,-75 4,166 11,49-9,1 0,-22 1,-87-4,88-3,1 2,-1 1,-57 11,31-2,-1-3,0-3,-97-6,43 0,-271 2,366-2,0 0,-34-8,-32-3,-14-2,70 9,-51-2,7 6,7 2,-105-14,23-1,5 1,94 8,-104 3,-8 0,98-10,51 8,-1 2,-20-3,-144 7,-25-3,139-11,51 9,-1 0,-20-1,-102-9,-58-1,-153-2,-100 6,360 12,64-3,1 0,-36-8,33 4,-47-3,-494 8,274 3,-826-2,961 14,11 0,110-11,-44 8,-34 3,95-13</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1:58:44.93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4552 115,'33'0,"-1"-2,1 0,46-11,62-16,-34 8,27-6,-53 9,-73 17,-1 0,0 1,1-1,-1 1,1 1,-1 0,0 0,1 0,6 3,-11-3,0 1,0 0,0 0,0-1,-1 2,1-1,0 0,-1 0,0 1,0 0,0-1,0 1,0 0,0 0,-1 0,1 0,1 5,1 6,0 1,4 26,-1-1,33 144,-18-28,-12-90,-3 0,-3 0,-7 91,1-36,2 354,2-453,1-1,1 1,1 0,1-1,1 0,1 0,19 37,-24-53,3 10,-1 0,5 26,-6-26,-1-1,2 0,8 21,-2-9,-1 0,-1 1,7 36,-15-56,4 20,-2 0,-1 0,-1 0,-2 27,1 53,13-39,-8-50,-1 0,1 19,-5 148,1 20,16-97,-7-49,15 55,-15-79,-3 1,6 58,-11 316,-4-205,2-191,0-1,-2 1,1-1,-2 1,0-1,0 0,-1 0,-9 18,9-23,0-1,-1 1,0-1,0 0,0 0,-1-1,0 0,0 0,-1 0,0-1,0 0,0 0,-1-1,-9 5,-198 65,94-36,75-25,-1-1,-65 8,52-8,41-8,0 0,-25 2,17-3,-38 8,40-6,0-1,-27 1,-572-3,298-4,-260 2,558 1,1 2,-33 7,29-5,-46 4,60-9,-15 1,1 0,0 2,-36 9,25-5,1-2,-1-2,0-1,-51-5,1 0,-1689 3,1738 2,-57 11,-33 1,115-14,-23 0,1 2,-1 2,-51 11,87-13,-1 0,1 1,0-1,0 1,0 0,1 0,-1 1,1-1,0 1,0 0,0 0,0 1,1-1,-1 1,1 0,1-1,-1 1,1 1,-3 6,-1 5,0 0,1 0,1 1,-3 34,6-43,1 1,0 0,0 0,1 0,1 0,-1 0,2 0,-1-1,1 1,1-1,4 11,1-6,0 1,1-1,0 0,2-1,19 19,-16-17,-9-8,1-1,-1 0,1 0,0 0,11 6,-15-11,-1 0,1 0,-1 0,1 0,0-1,-1 1,1-1,0 1,-1-1,1 0,0 0,0 0,-1-1,1 1,0-1,0 1,-1-1,1 0,-1 0,1 0,-1 0,4-2,77-50,-47 28,47-22,89-43,-168 89,-1-1,1 1,-1-1,1 1,0 0,-1 0,1 1,0-1,0 1,-1 0,1 0,0 0,4 1,-7-1,0 0,0 1,-1-1,1 0,0 1,0-1,0 1,-1-1,1 1,0-1,-1 1,1-1,0 1,-1 0,1-1,-1 1,1 0,-1 0,1-1,-1 1,1 0,-1 1,1 0,-1 0,0 0,0 0,0 0,0 0,0 0,-1 0,1 0,-1 0,1 0,-1 0,0 0,-1 3,-18 45,-22 79,4-6,-69 126,104-243,0 1,1-1,-1 1,1 0,1 0,-1 0,1 0,0 0,1 11,1-1,1 0,6 26,-2-14,0 18,-2 1,-2 0,-4 50,0-9,0-61,-2-1,0 1,-2-1,-11 32,-5 24,12-39,4-21,2 0,0 1,-1 28,6 339,1-357,1-1,10 39,-3-16,-4-25,17 49,2 6,-14-44,-6-26,-1 0,3 23,8 37,-10-54,-1-1,2 25,-2-20,0 0,1-1,2 0,15 39,-12-40,-2 0,-1 1,-1 0,5 46,-8-43,8 37,-6-39,4 50,-8-26,-1-1,3 1,9 53,-2-52,-4-8,3-1,2 0,30 78,-35-108,3 8,0 1,-1 1,6 24,-5-13,27 65,-1-8,-34-87,0 1,1 0,-1-1,1 0,0 1,0-1,1 0,-1 0,1 0,-1 0,1-1,0 1,0-1,0 1,0-1,1 0,-1-1,1 1,-1 0,1-1,-1 0,1 0,0 0,6 1,8 0,0-1,1 0,-1-2,20-2,4 0,18 3,-36 1,-1-1,1-2,-1 0,36-8,-34 4,36-6,-53 11,0 0,0 1,0 0,0 0,0 1,0-1,0 2,13 3,-18-4,-1 0,0 0,0 1,0-1,0 0,-1 1,1-1,0 1,-1-1,1 1,-1 0,1 0,-1 0,0 0,2 3,4 12</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1:58:53.39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4233,'33'0,"0"-2,-1 0,48-11,89-16,-2 2,-11 5,69-13,-198 31,42 0,-46 3,-1-1,1 0,25-7,-4 1,1 2,-1 1,1 3,77 5,-20-1,2131-2,-2206-1,1-2,32-7,-30 4,48-2,10 8,-53 2,0-2,0-2,51-8,-22 0,1 3,0 3,97 6,-43 0,-56-3,118-15,-127 9,0 2,0 2,97 8,-149-5,0 0,1 0,-1 1,0-1,0 1,0-1,1 1,-1 0,0 0,0 0,0 0,0 0,0 0,-1 1,1-1,1 2,-2-2,0 0,0 1,-1-1,1 0,0 0,-1 1,1-1,-1 0,0 1,1-1,-1 0,0 1,0-1,0 1,0-1,0 0,0 1,0-1,-1 3,-1-1,1 1,-1 0,1-1,-1 0,0 1,0-1,-1 0,1 0,-1 0,1 0,-1-1,0 1,0-1,0 1,-1-1,1 0,-5 2,-4 0,0 0,0-1,-1 0,1-1,0-1,-23 1,-74-9,98 5,0 0,0 0,1-1,-1-1,1 0,0 0,-10-7,-63-44,74 48,-7-7,1-1,1 0,0-2,2 1,-1-2,-12-24,12 21,-3-10,0 0,3 0,-16-53,8 21,16 46,0 0,2 0,0 0,-2-32,7-75,1 46,-3 51,1 0,2 1,10-44,-1 19,-2-1,-1 0,1-89,-11 110,2 1,1 0,11-58,-6 46,-2 0,-2-1,-1 0,-6-46,2-4,2-604,-1 675,-1 1,-9-37,6 36,1-1,-1-26,2 11,-9-44,6 46,-3-59,7 59,-9-53,5 53,-2-54,7 61,0 1,-2-1,-8-37,6 38,1-1,2 0,1-36,2 35,-2 0,-9-55,4 54,0 2,-16-48,18 66,0 1,-1 0,0 0,-1 1,0-1,-1 1,0 1,-8-9,-140-135,141 140,-1 0,0 2,-1 0,-32-15,28 15</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1:58:58.35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5'1,"0"0,-1 1,1 0,-1 0,1 0,-1 1,7 4,0 0,6 3,-1 1,0 1,0 0,-1 1,-1 0,0 1,-1 1,-1 0,0 1,-1 1,0-1,11 27,-15-27,0 0,-1 1,0 0,-2 1,5 27,2 15,-5-35,-2 0,1 33,-5 390,-2-427,0 0,-8 37,5-36,1 1,-2 26,8 112,-4 69,-11-163,8-50,1 0,-1 23,4 46,2-64,0 1,-2 0,-1 0,-8 39,-11 48,2-8,10-66,1-1,1 1,2 1,0 37,7 261,-1-311,2-1,10 43,-2-12,15 59,-15-67,-6-23,0-1,-1 1,1 29,-5 417,-1-211,1-250,0 0,-1 1,-3 16,-2-8</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1:59:17.00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2623 200,'-17'-2,"0"0,0-1,0-1,0-1,1 0,-31-14,-29-10,-103-32,154 55,-45-5,-2 0,-96-16,124 20,0 2,-1 2,-80 5,30 1,-675 14,563-1,-217 7,411-23,1 2,-1-1,1 2,-13 3,-10 2,14-4</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42.243"/>
    </inkml:context>
    <inkml:brush xml:id="br0">
      <inkml:brushProperty name="width" value="0.035" units="cm"/>
      <inkml:brushProperty name="height" value="0.035" units="cm"/>
      <inkml:brushProperty name="color" value="#E71224"/>
    </inkml:brush>
  </inkml:definitions>
  <inkml:trace contextRef="#ctx0" brushRef="#br0">1 18 24575,'89'-9'0,"-25"1"0,-61 8 0,-1 0 0,1 0 0,-1 0 0,1 0 0,-1 0 0,1 1 0,-1-1 0,1 1 0,-1-1 0,1 1 0,-1 0 0,0 0 0,1 0 0,-1 0 0,0 1 0,0-1 0,0 0 0,0 1 0,0 0 0,0-1 0,2 4 0,-2-2 0,0 1 0,0-1 0,0 1 0,0 0 0,-1-1 0,0 1 0,0 0 0,0 0 0,0 0 0,0 0 0,-1 0 0,0 5 0,0 1 0,0-1 0,-1 0 0,0 0 0,0 0 0,-1 0 0,-1 0 0,0 0 0,0 0 0,0-1 0,-1 1 0,-5 7 0,-5 1 0,0-1 0,-2 0 0,-18 15 0,-10 10 0,43-41 0,1 0 0,-1 1 0,0-1 0,1 1 0,-1-1 0,1 1 0,-1-1 0,1 1 0,-1 0 0,1-1 0,0 1 0,-1-1 0,1 1 0,0 0 0,-1-1 0,1 1 0,0 0 0,0 0 0,-1-1 0,1 1 0,0 0 0,0-1 0,0 1 0,0 0 0,0 0 0,0-1 0,0 1 0,0 0 0,1 0 0,-1-1 0,0 1 0,0 0 0,1-1 0,-1 2 0,2-1 0,-1 0 0,1 1 0,0-1 0,-1 0 0,1 0 0,0 0 0,0-1 0,0 1 0,0 0 0,0-1 0,0 1 0,3 0 0,67 3 0,-67-4 0,109-1-1365,-82 1-5461</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1:59:34.98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5115 86,'-58'1,"31"0,-1 0,1-2,0-1,-46-9,26-2,-1 2,1 2,-2 3,-51-1,77 5,1 0,-33-8,31 5,-47-3,-519 6,286 4,302-2,-35 0,1 1,0 1,-60 12,-70 15,27-1,21-6,-108 60,215-78,0 0,0-1,-1 0,1 0,-1-2,0 1,1-1,-19-1,5-2,-1-1,-45-12,-68-14,-1 1,119 24,-39-1,41 4,0-1,-35-8,13 2,1 2,-1 2,0 1,-79 5,28 1,-23-2,-133-3,162-11,56 7,-49-3,-380 8,220 3,218-1,0 1,-37 9,35-6,0-1,-26 1,43-5,-8 0,-1 1,0 0,1 1,-21 6,16-2</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1:59:40.86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4,'50'0,"1"-2,70-13,32-14,13 1,-114 16,0 2,1 2,87-1,1013 10,-687-1,-449 1,1 1,-1 0,21 7,-18-5,38 5,-14-4,0 2,51 15,0 0,-45-10,-27-7,0 0,0-1,25 0,399-5,-423 1</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0:13.734"/>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7568 2,'1'0,"-1"0,0 0,0 0,1 0,-1-1,0 1,0 0,1 0,-1 0,0 0,1 0,-1 0,0 0,0 0,1 0,-1 0,0 0,1 0,-1 0,0 0,0 0,1 0,-1 1,0-1,0 0,1 0,-1 0,0 0,0 1,1-1,-1 0,0 0,0 0,0 1,1-1,-1 0,0 0,0 1,0-1,0 0,0 0,1 1,-1-1,0 0,0 0,0 1,0-1,0 0,0 1,0-1,0 0,0 0,0 1,0-1,0 0,0 1,-1-1,1 0,0 0,0 1,0-1,0 0,-1 1,0 0,1 0,-2 0,1 0,0 0,0 0,0 0,0 0,-1 0,1-1,0 1,-1 0,-1 0,-28 4,0-2,0 0,0-2,-43-5,0 2,-2896 1,1502 2,1447-2,0-1,-37-9,35 6,0 1,-26-1,-503 3,266 4,188-3,-111 3,123 11,56-7,-49 3,-212-9,135-1,128 2,0 2,-32 7,30-4,-47 2,44-7,-17 0,-91 13,85-6,1-4,-104-3,71-3,84 2,1 0,-1 0,0 0,0 0,0 1,1-1,-1 1,0 0,1 0,-1 1,0-1,1 1,-1 0,1 0,-5 3,8-5,1 1,-1-1,0 0,0 1,0-1,0 0,0 1,0-1,0 0,0 1,1-1,-1 0,0 1,0-1,1 0,-1 1,0-1,0 0,1 0,-1 1,0-1,1 0,-1 0,0 0,1 1,-1-1,0 0,1 0,-1 0,0 0,1 0,-1 0,0 0,1 0,-1 0,1 0,-1 0,0 0,1 0,18 3,33 0,-19-1,63 10,-60-6,0-2,1-1,64-5,42 3,-64 12,-52-8,35 3,-35-5,37 8,-39-5,0-2,28 1,-22-4,0 1,58 11,-45-6,0-2,1-2,82-5,-35 0,-76 2,42-1,1 3,87 14,-84-8,-1-3,123-5,-72-2,-4 0,118 5,-111 22,-33-11,-50-8,47 4,27 4,-72-7,50 1,-46-5,44 8,-45-5,55 2,-63-8,-1 2,0 0,39 10,-24-5,1-2,-1-2,87-5,-38 0,466 2,-536 1,-1 1,37 9,-36-6,1-1,26 1,299-4,-165-3,-158 4,1 0,34 9,-31-6,37 4,371-7,-225-4,-146 4,97 13,-63-5,192-7,-149-5,-27 4,131-5,-161-10,-56 7,49-2,-16 8,-42 1,0 0,0-2,0 0,0-2,23-5,123-49,-151 50</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0:18.612"/>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3603 733,'-89'-1,"-103"3,113 11,52-8,-34 3,33-5,-36 8,39-5,0-2,-28 1,20-3,-46 10,46-6,-46 2,40-5,-55 11,31-4,-62 16,82-16,-1-1,-51 3,68-10,-39 10,41-7,-51 4,-316-10,361-1,0-1,-37-9,3 1,1-1,35 6,-45-3,48 6,-42-9,45 7,-1 1,-30-2,-83 8,-61-4,131-11,49 9,1 0,-22-1,-23-2,0-2,-76-21,136 29,-16-3,0-1,0-1,0 0,-30-16,22 5,1-1,1-1,0-1,-28-32,37 37,10 9,1-1,0 1,0-1,0 1,1-1,0 0,0-1,1 1,0 0,0-1,1 1,0-1,0 1,1-12,-8-41,3 39,0-1,2 0,1 0,1-1,2-32,0 42,0 0,2 0,0 0,0 1,1-1,0 1,1 0,1 0,0 1,14-21,-14 25,0 0,1 0,-1 1,2 0,-1 0,1 0,-1 1,1 0,1 1,-1 0,1 0,0 1,0 0,0 0,17-2,8 1,0 2,0 1,38 4,4 0,-50-2,0 0,0 1,47 12,-52-10,0-1,36 1,-37-3,1 0,-1 2,21 4,-20-2,0-1,32 3,-30-6</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0:35.355"/>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6645 733,'-1621'0,"1593"-1,0-2,-32-7,30 5,-48-4,26 8,-91-14,108 10,-65 0,67 4,0 0,-45-9,30 2,-1 3,0 2,-68 4,-66-3,116-11,49 8,0 1,-20-1,-65 4,70 2,0-1,-1-2,-41-7,10-1,0 3,-1 3,-95 6,42 0,-11-3,-153 3,139 11,-29 1,133-13,-9-1,0 2,-60 11,49-5,-1-2,1-4,-65-4,14-1,-1229 3,1336 1,0-1,0 0,0-1,0 1,0-1,0 1,0-1,0 0,0-1,0 1,1-1,-1 0,1 1,-7-6,7 4,1 1,0-1,0-1,0 1,0 0,0 0,1-1,-1 1,1-1,0 1,0-1,0 0,1 1,-1-1,1 0,0-4,1-197,3 70,-5 83,2-63,0 112,-1 1,0-1,1 0,0 1,0-1,0 1,0-1,0 1,0-1,1 1,-1-1,1 1,-1 0,1 0,0 0,0 0,0 0,0 0,0 1,0-1,1 1,-1-1,1 1,-1 0,1 0,-1 0,1 0,-1 1,6-2,7 0,-1 1,1 0,0 1,21 2,-11 0,198 1,132 8,541 37,-181-13,113 6,-335-35,-297-7,-157-1,56-10,21-1,-53 11,-13 1,90-14,-106 11,52-2,-55 5,0-1,37-7,-21 1,0 3,0 1,76 5,59-3,-115-11,-50 8,1 2,20-3,319 4,-184 4,-114-3,-33-1,1 1,-1 2,1 1,48 10,-48-7,-1 0,1-2,0-1,53-3,-50 0,1 1,0 1,36 7,-49-3,-1 2,1 0,-2 0,1 2,-1 0,-1 1,1 1,-2 0,1 1,12 14,-20-19,-1 0,0 1,0 0,-1 0,0 1,0-1,-1 1,4 12,-6-15,0 0,0 0,0 0,-1 0,0 0,-1 1,1-1,-1 0,0 1,-1-1,1 0,-1 0,-3 11,2-14,1 0,-1 0,0-1,0 1,0 0,0-1,0 1,-1-1,1 0,-1 1,0-1,1 0,-1-1,0 1,-4 1,-53 17,30-11,0 0,0-2,-60 6,11-2,-229 64,275-64,-2-1,1-1,-1-2,0-2,-43 2,-286-9,344 1,0-1,0-1,-20-6,19 4,-1 1,-29-2,4 4,-74-12,77 8,-1 3,-78 2,-28 0,64-13,57 9,-49-4,45 6,-42-8,42 5,-44-2,41 6,-41-9,42 5,-49-2,0 6,-157-7,-469-10,123 10,-647-11,825 22,-48-2,430 2,0 1,-50 12,46-8,26-6,0 0,1 1,-1-1,0 1,1 0,0 1,-1-1,1 1,0 0,0 0,1 1,-1-1,1 1,0 0,-1 0,2 1,-1-1,1 1,-1 0,1 0,0 0,1 0,-3 8,-25 62,17-44,0 1,-12 57,23-84,1 1,0-1,0 0,1 1,-1-1,1 1,1-1,-1 1,1-1,0 1,0-1,0 0,1 1,0-1,0 0,0 0,1 0,-1 0,1-1,0 1,1-1,-1 0,1 0,0 0,0 0,0 0,7 4,18 12,49 24,-64-37,0 0,1-2,-1 0,1-1,0 0,16 2,47 7,-52-8,47 5,40 4,-1-1,11 2,-80-9,59 3,1265-11,-1340 1,1-2,32-7,-30 5,48-4,373 10,-113 25,-9-1,174-1,278 11,-361-33,-252-2,-146 0</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0:42.231"/>
    </inkml:context>
    <inkml:brush xml:id="br0">
      <inkml:brushProperty name="width" value="0.3" units="cm"/>
      <inkml:brushProperty name="height" value="0.6" units="cm"/>
      <inkml:brushProperty name="color" value="#00F900"/>
      <inkml:brushProperty name="tip" value="rectangle"/>
      <inkml:brushProperty name="rasterOp" value="maskPen"/>
      <inkml:brushProperty name="ignorePressure" value="1"/>
    </inkml:brush>
  </inkml:definitions>
  <inkml:trace contextRef="#ctx0" brushRef="#br0">6852 840,'-99'-2,"-111"5,131 10,51-8,-33 3,33-5,-35 8,38-5,0-2,-29 1,-402-4,214-3,221 1,0-1,-37-9,35 6,0 1,-26-1,-87 5,65 1,-118-12,78 0,-166 5,250 4,1 0,-37-8,33 4,-45-2,-68-6,91 7,-60 0,49 6,-100-14,13 6,56 5,1-9,63 7,-48-3,10 9,24 0,-78-10,-150-14,110 14,-171-18,-160 16,313 14,178-2,-34-1,-1 2,1 2,-60 11,55-7,-1-2,-1-2,1-2,-48-4,-4 1,-915 2,1002 0,-25-1,31 1,0 0,0 0,-1-1,1 1,0 0,0 0,-1-1,1 1,0-1,0 1,0-1,0 0,0 1,0-1,0 0,0 0,0 0,-2-1,3 1,0 0,0 1,0-1,0 0,0 0,1 1,-1-1,0 0,0 1,0-1,1 0,-1 1,0-1,1 0,-1 1,0-1,1 0,-1 1,1-1,-1 1,1-1,0 1,-1-1,1 1,-1-1,1 1,0 0,-1-1,2 1,26-15,-22 12,39-17,2 3,0 1,50-9,-8 1,422-105,38-13,-447 116,-63 18,0-2,-1-2,0-1,57-29,-94 41,18-13,-18 8,-12 1,-26 2,0 1,-56 4,14 1,-25-2,-154-3,140-11,-18-2,113 14,0-2,-27-7,28 5,-1 1,-28-2,-68 6,52 1,-103-12,87 3,51 6,-57-11,70 6,19 6,0 1,0 0,0 0,0 0,0-1,0 1,0 0,0 0,0 0,0-1,0 1,0 0,0 0,0 0,0-1,0 1,0 0,0 0,0 0,1-1,-1 1,0 0,0 0,0 0,0 0,0-1,1 1,-1 0,0 0,0 0,0 0,0 0,1 0,-1-1,0 1,0 0,0 0,1 0,-1 0,0 0,0 0,1 0,35-7,325 5,-182 4,1-4,198 4,-203 15,-76-6,1 1,59 4,-137-14,1 0,29 8,-30-5,1-1,28 2,48-5,115 8,338 9,-408-19,-124 2,0 1,38 9,-36-6,-1-1,29 1,100-7,62 4,-144 11,-51-8,1-2,20 3,166-4,14 1,234 26,153 11,-212-29,-389-11,144 12,-26 0,134-6,58 3,491 7,-781-16</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2:23.023"/>
    </inkml:context>
    <inkml:brush xml:id="br0">
      <inkml:brushProperty name="width" value="0.3" units="cm"/>
      <inkml:brushProperty name="height" value="0.6" units="cm"/>
      <inkml:brushProperty name="color" value="#FF8517"/>
      <inkml:brushProperty name="tip" value="rectangle"/>
      <inkml:brushProperty name="rasterOp" value="maskPen"/>
      <inkml:brushProperty name="ignorePressure" value="1"/>
    </inkml:brush>
  </inkml:definitions>
  <inkml:trace contextRef="#ctx0" brushRef="#br0">4800 248,'-78'1,"-89"-3,150-1,0 0,0-1,-31-13,31 11,1 0,-1 1,-28-4,-14-1,-112-33,76 17,7-2,-18-3,67 22,16 3,-1 1,1 1,-30-1,-303 6,334 1,0 0,-41 10,6 0,-3-2,22-3,0-1,-44 0,60-5,0 2,-32 6,31-4,-47 4,-415-8,232-3,233 3,-1 1,-36 9,35-6,0-1,-26 1,-6-4,0-2,0-2,-58-11,-107-14,56 0,35 11,32 6,-154-16,173 20,-115 4,141 3,43 1,-1-1,1 2,0-1,-1 1,1 0,0 1,0 0,1 0,-1 1,1 0,-8 5,-9 8,-40 37,35-28,-19 13,-30 28,75-65,1 0,0 1,0-1,0 1,0-1,0 1,1 0,-1-1,1 1,-1 0,1 0,0 0,0 0,1 0,-1 0,0 0,1 1,0-1,0 0,0 0,0 0,1 0,0 6,2-2,0-1,0 0,0 0,1 0,-1-1,1 1,1-1,-1 0,1 0,6 5,7 8,1-1,1-1,0-1,2-1,23 12,3-6,1-2,1-3,65 12,68 22,-155-43,0 0,1-2,-1-1,1-1,-1-1,39-5,7 2,445 2,-497 1,0 1,40 10,-3 0,214 43,-211-43,-34-6,45 3,124 16,47 2,48 3,-140-16,30 0,-147-14,0 2,57 11,-59-8,52 0,-54-4,-1 1,37 7,-2 1,1-2,0-4,104-6,-45-1,-12 5,129-5,-140-15,-69 11,-18 3,0 0,-1 0,1-2,-1 0,0 0,22-15,-3-3,37-34,-59 48,135-95,-146 104,1 1,-1 0,1-1,-1 1,0 0,1-1,-1 1,1-1,-1 1,0 0,1-1,-1 1,0-1,0 1,1-1,-1 1,0-1,0 1,0-1,1 0,-1 1,0-1,0 1,0-1,0 1,0-1,0 1,-1-2,-12-6,-28 3,40 5,-394-1,181 4,-169-3,366-1,0-1,0-1,-20-5,17 3,-36-3,30 5,-37-8,40 5,0 2,-32-2,24 6,-17-1,-92-13,79 6,0 3,-118 5,70 2,-573-2,661 1,0 1,-36 9,35-6,0-1,-26 1,6-2,0 3,-51 12,44-7,-51 4,9-1,59-8,-39 3,49-7,-38 9,38-6,-38 3,29-4,-43 9,16-2,-54 14,18-8,27-3,9-2,35-7,0-1,-37 2,30-3,-1 1,1 1,-33 10,31-6,0-2,-50 4,35-9,13-2,0 2,0 2,-37 9,57-10</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2:28.644"/>
    </inkml:context>
    <inkml:brush xml:id="br0">
      <inkml:brushProperty name="width" value="0.3" units="cm"/>
      <inkml:brushProperty name="height" value="0.6" units="cm"/>
      <inkml:brushProperty name="color" value="#FF8517"/>
      <inkml:brushProperty name="tip" value="rectangle"/>
      <inkml:brushProperty name="rasterOp" value="maskPen"/>
      <inkml:brushProperty name="ignorePressure" value="1"/>
    </inkml:brush>
  </inkml:definitions>
  <inkml:trace contextRef="#ctx0" brushRef="#br0">3444 164,'-3443'0,"3488"0,0 3,58 10,-37-5,0-2,119-7,-70-1,520 2,-604 2,57 9,17 3,461-12,-290-4,-162 4,126-5,-194-4,0-2,-1-2,-1-3,50-20,58-18,66-21,-175 60,-23 10</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3:37.976"/>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9857 547,'-48'2,"-57"10,56-5,-51 0,70-5,-53 10,51-7,-46 3,-97 6,-27 0,190-14,-20-1,0 1,0 2,1 2,-33 7,40-6,0-1,0-2,0 0,0-1,0-1,0-2,-1 0,2-2,-33-8,-97-17,-22 2,132 21,-1 1,1 2,-80 5,31 0,-1000-2,1071-1,1-1,-37-8,35 5,-1 1,-25-1,-97-9,-17 0,121 12,-51-9,50 4,-51 0,-1108 8,1178 0,-1 2,-32 7,-32 3,61-11,-35 10,37-7,1-1,-28 1,-541-4,283-3,285 1,0-2,0-1,1-1,-28-9,26 6,1 2,-1 1,-45-4,-460 8,242 3,269-3,0-1,1-1,-20-5,18 3,0 1,-30-2,-397 5,212 3,200-4,-51-9,-13-1,-379-18,-31-11,428 33,-83 3,155 5,1235 2,-622-4,-582 4,0 0,35 8,-34-5,1-1,25 1,91 9,-87-7,58 0,1475-8,-1558 2,0 2,32 6,-30-3,46 2,-40-7,2-1,60 10,-27-2,132 0,28 3,-54 4,233-11,-217-6,1173 2,-1338-1,0-2,30-6,29-3,38 6,40-3,338-7,-482 15,-1-1,39-8,-37 5,0 1,27-1,100-9,-23 2,-33 12,-67 2,0-2,0 0,0-2,47-9,-51 6,1 1,0 1,23 0,-22 2,0-1,38-8,-39 5,1 1,26-1,-27 4,-1-2,33-7,-18 2,70-7,-21 4,-36 6,1 2,68 3,50-2,-146-1,35-10,-24 5,-33 7,49-12,-46 13,-1-1,1 0,-1 0,1 0,-1 0,1-1,-1 1,1-1,-1 1,0-1,0 0,0 0,0 0,3-3,-5 4,-1 0,1 1,0-1,0 0,0 1,-1-1,1 0,0 1,0-1,-1 1,1-1,-1 0,1 1,-1-1,1 1,-1-1,1 1,-1 0,1-1,-1 1,1-1,-1 1,0 0,1 0,-1-1,1 1,-1 0,0 0,1 0,-1 0,-1 0,-30-8,24 6,-38-7,0 2,0 3,-1 1,-52 4,73-1,7-1,0-1,0-1,-22-5,20 3,-1 1,-27-2,21 4,1-2,-1 0,1-2,-29-11,20 7,-100-18,93 21,0 3,-1 1,-78 5,29 1,44-4,26 0,-1 0,1 2,0 1,-43 8,36-3,-56 6,-10 1,72-10,0-1,0-1,-26-2,29 0,-1 0,0 2,0 0,-21 6,9-2,-1 0,1-3,-1 0,-64-6,-57 5,90 11,50-9,-1 0,-22 2,-310-3,180-6,-1169 3,1317 2,1 0,-37 8,35-5,-1-1,-25 1,-510-4,269-3,206 3,-16 0,-112-13,13-5,-11-1,111 8,-43-7,108 12,-53 0,55 4,0-1,-33-6,22 1,-59-2,-19-3,44 4,-117 0,-34-2,-13-4,113 10,18-9,68 7,-50-2,-399 9,460 2,-1 0,1 2,-55 17,16-4,-84 30,55-14,84-30,-6 3,-1-1,1-1,-1-1,-41 3,29-5,-45 9,45-5,-43 1,75-7,-81 5,73-4,0 1,0 0,1 0,-1 1,1 0,0 0,-10 6,14-6,1 0,0 0,-1 1,1 0,0-1,1 1,-1 0,1 1,0-1,0 0,0 1,0-1,-1 8,-12 64,11-36,-12 63,-12 33,26-129,1 0,-1 0,1 0,1 1,0 9,0-15,0 0,0 0,1 0,-1 0,1-1,-1 1,1 0,0 0,0 0,-1-1,1 1,1 0,-1-1,0 1,0-1,1 1,-1-1,0 1,1-1,0 0,-1 0,1 0,0 0,2 1,17 6,0-2,0 0,0-1,0-1,38 2,113-6,-74-3,-28 4,78-2,-69-14,-20 3,0 1,-30 5,46-4,-53 8,39-9,-39 6,38-4,-33 7,35-9,-37 5,-1 2,28-1,579 4,-301 3,941-2,-929 13,-53 1,545-13,-435-2,-222 15,5 0,-125-13,107 13,-24-1,-19-3,3 1,142-6,-212-6,-31 1</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3:44.139"/>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0 193,'88'1,"99"-3,-102-11,-56 7,48-2,-37 7,-9 1,1-1,-1-2,37-8,-26 4,-1 2,1 2,0 2,45 4,3-1,511-2,-577-1,0-1,33-8,-29 5,35-3,375 5,-225 5,-192-3,-1-1,37-9,-35 7,0 0,26-1,-10 2,42-9,-45 6,58-2,-65 7,0 0,-1-2,38-8,38-6,-26 6,-46 7,47-2,-54 5</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3:22.020"/>
    </inkml:context>
    <inkml:brush xml:id="br0">
      <inkml:brushProperty name="width" value="0.035" units="cm"/>
      <inkml:brushProperty name="height" value="0.035" units="cm"/>
      <inkml:brushProperty name="color" value="#E71224"/>
    </inkml:brush>
  </inkml:definitions>
  <inkml:trace contextRef="#ctx0" brushRef="#br0">270 70 24575,'-1'-3'0,"0"0"0,1 1 0,-1-1 0,0 0 0,0 1 0,-1-1 0,1 1 0,0 0 0,-1-1 0,0 1 0,1 0 0,-1 0 0,0 0 0,0 0 0,0 0 0,0 0 0,-1 1 0,1-1 0,0 1 0,-1 0 0,1-1 0,-1 1 0,1 0 0,-1 0 0,-4 0 0,-6-4 0,0 2 0,-1 0 0,-24-3 0,32 5 0,1 1 0,-1-1 0,1 1 0,-1 1 0,0-1 0,1 1 0,-1 0 0,1 0 0,-1 0 0,1 1 0,-1 0 0,1 0 0,0 0 0,0 1 0,0 0 0,0 0 0,-6 5 0,7-3 0,0-1 0,0 1 0,1 0 0,0 0 0,0 0 0,0 0 0,1 1 0,-1-1 0,2 1 0,-1-1 0,0 1 0,1 0 0,0-1 0,0 1 0,1 0 0,0 9 0,-1-11 0,1 0 0,0 1 0,1-1 0,-1 0 0,1 0 0,-1 0 0,1 1 0,0-1 0,1 0 0,-1 0 0,1 0 0,0-1 0,0 1 0,0 0 0,0-1 0,1 1 0,-1-1 0,1 0 0,0 1 0,0-1 0,0-1 0,0 1 0,1 0 0,5 3 0,1-2 0,0 0 0,0-1 0,0 0 0,0 0 0,0-1 0,1 0 0,-1-1 0,22 0 0,-12-1 0,-8 1 0,0-1 0,0 0 0,0 0 0,0-2 0,22-4 0,-31 5 0,-1 1 0,0-1 0,0 0 0,1 0 0,-1-1 0,0 1 0,0 0 0,0-1 0,0 1 0,-1-1 0,1 0 0,0 0 0,-1 0 0,1 1 0,-1-1 0,0-1 0,1 1 0,-1 0 0,0 0 0,0 0 0,0-1 0,-1 1 0,1 0 0,0-1 0,-1 1 0,0 0 0,0-1 0,1 1 0,-1-1 0,-1 1 0,1-1 0,0 1 0,0 0 0,-1-1 0,0-2 0,-10-22 0,5 25 0,1 18 0,4 1 0,1 0 0,1 1 0,1-1 0,0 0 0,6 20 0,2 19 0,-3-17 0,2 0 0,2-1 0,19 45 0,-30-78-1365</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3:54.837"/>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16625 3963,'38'-3,"1"-1,-1-2,57-16,-32 7,131-43,-191 57,0 0,0 0,0 0,0-1,0 1,0-1,-1 1,1-1,-1 0,1 0,-1 0,0 0,0-1,0 1,0-1,0 1,0-1,-1 0,1 1,-1-1,0 0,0 0,0 0,0 0,0 0,0-5,1-8,-1-1,-1 0,-2-31,0 18,-3-780,8 444,-3-71,-2 415,0 0,-10-41,0 5,-15-76,-2-5,2-23,0-2,3 51,18 80,-1 0,-2 0,-21-52,13 38,-28-60,16 42,24 56,-1-1,0 1,-1 0,0 0,0 1,0-1,-1 2,-10-8,-27-30,-37-64,60 83,0 1,-1 1,-1 1,-47-34,-38-37,99 86,0 0,0 0,-1 1,0 1,-13-7,-34-21,46 26,0 1,-1 0,1 0,-1 1,-1 1,1 0,-1 1,0 1,0 0,-19-1,-17 0,-82 6,45 1,-677-3,736 1,1 2,-31 7,28-5,-46 3,44-7,0-1,0-2,0-1,-42-10,43 7,-36-2,-25-5,-61-15,-12 0,-53 1,185 23,0 1,-34 1,-18 0,18-11,49 9,1 0,-19 0,-332 1,190 5,-614-2,772 1,-1 1,-36 9,35-6,0-1,-26 1,27-4,1 2,-25 6,23-4,-35 3,0-2,-93 23,57-9,-18 7,68-17,21-5,-1 0,1-1,-29 1,31-5,-245-2,162-11,-24-1,101 13,0-1,-49-11,49 8,-1 2,0 1,-26 1,24 0,1 0,-42-7,33 2,1 2,-47 0,-7 0,24-9,49 9,0 0,-21-1,-308 2,179 5,60-4,-118 5,178 3,-53 15,63-12,-1-2,-68 6,8-15,-50 3,82 12,49-9,0 0,-20 1,-131-5,-20 1,104 12,55-7,-48 2,-499-6,278-4,-685 2,956-2,-1 0,-30-8,28 4,-46-2,-500 7,278 3,-795-2,1066 1,0 2,-32 7,30-5,-47 3,58-7,-14-1,0 2,-60 11,50-6,-1-2,1-2,-85-5,36 0,52 4,-60 10,59-6,-55 2,4-8,-148-17,-24-11,-61 1,256 20,21 3,-54-13,91 15,0 0,-1 0,1 1,-1 0,1 1,-1 0,1 0,-1 1,1 1,0 0,-1 0,1 1,0 0,0 1,-18 9,-103 54,49-27,-133 88,166-96,-59 28,15-9,81-44,-2-1,1-1,0 0,-24 4,25-6,1-1,-1 2,1 0,0 0,0 1,1 0,-19 13,-171 117,103-73,39-25,26-18,1 1,-55 49,44-30,16-15,-31 35,47-46</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3:56.145"/>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0 0,'0'0</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3:56.779"/>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0 0,'3'1,"-1"0,0 0,1-1,-1 1,0 0,0 1,0-1,0 0,0 1,0-1,0 1,0 0,0-1,-1 1,1 0,-1 0,3 3,21 38,-3-1,-2 1,-2 1,23 88,-32-93,-3-16,-1 1,-1 0,0 27,-4 30,0-57</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4:06.709"/>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0 1,'2'0,"-1"0,1 1,-1 0,0-1,1 1,-1 0,0 0,1 0,-1 0,0 0,0 0,0 0,0 0,0 0,0 0,0 1,0-1,0 2,17 31,-14-25,17 37,15 50,8 20,-25-66,-2 2,20 102,-10-45,0 0,0 1,-17-66,-4-22,-2 1,0 0,1 27,-5 282,-1-144,2-169,1 1,1-1,5 20,-3-18,-1 1,2 28,-5-9,-1-9,1 0,2 0,8 34,-4-36,2 6,-1 1,-2 0,3 56,-10 783,3-848,2 1,1-1,1 1,15 43,-9-36,-10-26,1-1,0 0,1 0,0 0,1-1,8 14,-11-20,0 1,0-1,0 0,1 0,-1 0,0 0,1 0,-1-1,1 1,0-1,0 0,-1 1,1-1,0-1,0 1,0 0,0-1,0 1,0-1,0 0,0 0,0 0,0 0,6-2,19-5,37-13,15-5,29-2,-106 26,11-1,0-1,0-1,0-1,21-9,-33 13,1-1,0 1,-1-1,0 1,1-1,-1 0,0 0,0 0,0 0,0 0,0 0,-1-1,1 1,-1-1,1 1,-1-1,0 0,0 1,0-1,0 0,-1 0,1 1,-1-1,0 0,0 0,1 0,-2 0,1 0,-1-4,-4-15,-2 0,-10-24,-1-6,-8-29,-31-111,43 145,-2 0,-23-44,28 63,-9-34,-3-8,11 35,-7-41,14 55,-1-17,1 0,3 0,1-1,4-40,-1-7,-3 20,0 28,1 0,2-1,9-53,14-11,-12 56,-2-1,-2 1,5-90,-14 106,-3-91,1 105,0 0,-2 0,1 0,-2 1,-7-18,10 29,-19-44,-36-63,46 94,0 0,1-1,1-1,1 0,0 0,2 0,0-1,1 0,1 0,2 0,-1-31,5-72,-3-137,-12 185,9 57,0 1,1-1,2 1,-1-22,2 38,0 0,0 0,1 0,-1 0,0 0,0 1,1-1,-1 0,1 0,0 0,0 1,0-1,-1 0,1 0,1 1,-1-1,0 1,0-1,1 1,-1 0,0-1,1 1,0 0,2-1,-1 1,0 0,0 0,0 1,0-1,0 1,0 0,1 0,-1 0,0 1,0-1,0 1,0-1,5 2,9 5,0 0,-1 1,30 18,-28-14,-1 1,0 0,-1 2,-1 0,22 27,58 93,-6-7,-69-102,-1 0,-1 1,-1 2,-2-1,-1 2,-1 0,-1 0,-2 1,9 44,-14-44,4 13,-3 0,2 57,-8-76,-4 98,2-108,0 0,-2 0,0 0,0 0,-13 27,12-29,1 0,0 1,0-1,2 1,0 0,-1 15,-5 31,-1 7,2-1,4 1,5 81,0-30,-4-4,5 127,10-156,-8-56,4 48,-8 318,-3-189,2-199,1-4,-1 1,0-1,0 1,0-1,0 1,-1-1,1 0,-1 1,0-1,0 0,0 0,-1 1,1-1,-2 3,2-6,0 0,1 0,-1 1,0-1,1 0,-1 0,1 0,-1 0,0 0,1 0,-1 0,0-1,1 1,-1 0,0 0,1 0,-1-1,1 1,-1 0,1 0,-1-1,1 1,-1-1,1 1,-1 0,1-1,-1 1,1-1,-1 1,1-1,0 1,-1-1,1 0,0 1,0-1,-1 1,1-1,0 0,-13-24,2-15,1 0,2-1,-3-56,-1 13,6 46,-2-59,9-722,0 802,1 0,0 0,6-20,-3 17,3-36,-5 28,8-33,-5 37,-2-1,1-27,-4 20,0 1,-2-1,-2 1,-1-1,-1 1,-1 0,-15-40,11 45,3 4,-2 1,0 1,-21-34,-125-172,92 132,37 53,-2 2,-56-63,78 95,0 0,0-1,1 0,0 0,0 0,1-1,0 1,1-1,-4-11,-1-14,-6-40,8 36,2 11,-6-24,3 34</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42:21.496"/>
    </inkml:context>
    <inkml:brush xml:id="br0">
      <inkml:brushProperty name="width" value="0.1" units="cm"/>
      <inkml:brushProperty name="height" value="0.2" units="cm"/>
      <inkml:brushProperty name="color" value="#FFFC00"/>
      <inkml:brushProperty name="tip" value="rectangle"/>
      <inkml:brushProperty name="rasterOp" value="maskPen"/>
      <inkml:brushProperty name="ignorePressure" value="1"/>
    </inkml:brush>
  </inkml:definitions>
  <inkml:trace contextRef="#ctx0" brushRef="#br0">2281 430,'1'-12,"-2"0,0 0,0 0,-1 0,0 0,-1 1,0-1,-9-18,8 22,-1 0,0 0,-1 1,0 0,0 0,0 0,-1 1,0 0,0 0,0 1,-17-9,-43-23,-69-41,119 68,-1 1,0 1,0 0,-1 1,-34-7,-101-11,118 20,-27-3,-1 3,-1 3,-124 12,151-3,1 1,0 2,-40 16,-106 52,144-60,-156 87,18-10,144-79,1 1,0 2,-58 44,75-50,1 1,-1 0,2 1,0 1,1 0,1 0,0 1,-16 35,18-28,1 1,1 0,1 0,-4 31,-1 6,6-34,1 1,-2 38,4-33,-9 50,6-49,-3 51,11 160,-5 174,-11-308,-1 35,15 727,1-839,12 63,-2-20,-2 0,-3-34,1 62,-9 1143,0-1228,-1-1,-1 1,-1-1,-1 0,0 0,-9 20,9-27,0 6,1 1,1-1,1 1,1 0,0-1,4 31,-2-29,0 1,-1-1,-2 0,0 0,-6 29,1-24,2 0,1 1,1 0,0 52,20 108,-1 13,-13-163,1-1,2 0,1-1,1 0,21 51,-23-62,0 0,-2 1,2 35,-4-34,1 0,1-1,8 28,2-10,-2 0,-1 1,-3 0,6 79,-11-81,1 0,15 61,-10-63,-2 1,4 70,-13 1055,4-1124,10 56,2 30,-9-66,3 0,16 64,-10-57,-1-20,3 0,1-2,3 0,28 50,52 70,-23-22,-66-128,1 0,0-1,1-1,1 0,0 0,18 12,-23-20,1-2,-1 1,1-1,1 0,-1-1,1 0,-1-1,1 0,0-1,0 0,0-1,19 1,11-4,-1-1,49-10,5 0,-58 8,64-17,-70 14,0 1,1 1,40-2,-49 7,0 0,0-2,0 0,36-11,-46 9,1 0,-1 0,0-1,0-1,0 0,-1 0,0-2,19-17,4-5,1 3,1 0,2 3,53-28,-69 40,-3 0,0-1,-1 0,0-2,18-20,16-15,-45 44,1-1,-2 0,1-1,-1 1,0-1,-1-1,0 1,-1-1,0 1,0-1,-1 0,0-1,-1 1,2-14,0-18,-2 1,-4-57,0 32,-1-41,0 45,3 0,11-91,11 56,-14 68,-2 1,0-1,1-38,-9-247,3-86,43 23,-27 254,2-148,-14 161,4 1,5 0,5 0,46-147,51-255,-98 385,-5 0,-5-147,-13-726,6 595,0 340,3 0,2 1,24-104,-16 107,-4-1,-2 0,0-116,-13 63,-23-131,-68-437,71 528,-54-174,69 293,-66-194,30 75,7 23,-14 5,33 83,-23-72,36 88</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42:35.797"/>
    </inkml:context>
    <inkml:brush xml:id="br0">
      <inkml:brushProperty name="width" value="0.1" units="cm"/>
      <inkml:brushProperty name="height" value="0.2" units="cm"/>
      <inkml:brushProperty name="color" value="#FFFC00"/>
      <inkml:brushProperty name="tip" value="rectangle"/>
      <inkml:brushProperty name="rasterOp" value="maskPen"/>
      <inkml:brushProperty name="ignorePressure" value="1"/>
    </inkml:brush>
  </inkml:definitions>
  <inkml:trace contextRef="#ctx0" brushRef="#br0">95 299,'120'0,"8"2,1-5,128-21,-89 5,333 8,-326 13,-81-3,1 4,-1 4,124 26,-98-8,200 15,-391-42,-147-8,-187-14,218 15,170 8,-374-28,285 21,-147 8,101 3,-552-3,1443 2,797-5,-1277-5,219 3,-435 9,-42-4,-1 0,0 0,0 0,0 0,0 0,1 0,-1 0,0 0,0 0,0 0,1 0,-1 0,0 0,0 0,0 0,0 0,1 0,-1 0,0 0,0 0,0 1,0-1,1 0,-1 0,0 0,0 0,0 0,0 0,0 1,0-1,1 0,-1 0,0 0,0 0,0 1,0-1,0 0,0 0,0 0,0 0,0 1,0-1,0 0,0 0,0 0,0 1,0-1,0 0,0 0,0 0,0 0,0 1,0-1,0 0,0 0,-13 8,-19 2,16-7,0-1,-1 0,-28-1,38-1,1-1,-1 0,0 0,1 0,-1-1,1 0,-1-1,1 1,0-1,0 0,-11-8,-1-2,-1 1,0 1,0 0,-40-14,-90-20,86 27,-54-12,-1 5,-160-13,-130 32,222 9,91-5,-115 5,175 4,0 1,1 2,0 1,1 2,0 1,-46 27,16-9,46-26,-1 0,0-2,0 0,0-1,0 0,0-2,-25 0,-8 1,-309 31,347-32,1 0,0-1,-1-1,1 0,0 0,-16-4,25 4,0 0,-1-1,1 1,0-1,0 1,0-1,1 0,-1 0,0 0,1 0,-1-1,1 1,0-1,0 0,0 1,0-1,0 0,0 0,1 0,0 0,-1 0,1-1,0 1,1 0,-1-1,1 1,-1-4,0 1,1 0,-1 0,1-1,0 1,1 0,0 0,0 0,0-1,1 1,-1 0,1 0,1 1,-1-1,1 0,6-8,-5 10,0 0,0 0,0 0,1 1,-1-1,1 1,0 0,0 1,0-1,0 1,0 0,1 0,-1 0,1 1,-1 0,1 0,10 0,22-1,1 1,-1 1,0 3,1 1,-1 2,51 14,-58-12,1-1,1-2,54 1,-39-2,-36-3,1 2,-1-1,23 9,23 6,51-5,1-4,150-9,-126-1,61-1,318 5,-500 0,0 1,1 0,-1 0,-1 1,1 1,0 0,-1 1,0 0,-1 1,1 0,-1 1,15 14,27 16,6-3,-32-20,0 2,42 34,-68-50,-1-1,1 1,-1-1,1 0,-1 1,1-1,-1 1,1-1,-1 1,1 0,-1-1,0 1,1-1,-1 1,0 0,0-1,1 1,-1 0,0-1,0 1,0 0,0 0,0-1,0 1,0 0,0-1,0 1,0 0,0 0,0-1,-1 1,1 0,0-1,0 1,-1-1,1 1,-1 0,1-1,0 1,-1-1,1 1,-1-1,1 1,-1-1,1 1,-1-1,0 1,1-1,-1 0,0 0,1 1,-1-1,0 0,1 0,-1 1,0-1,1 0,-2 0,-52 11,45-10,-65 12,27-3,-1-3,-47 1,-555-9,510-10,103 6,1 2,-1 2,-61 4,40 5,1-2,-97 25,97-15,-1-3,0-3,-95 6,-150 13,130-10,143-17</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4:33.627"/>
    </inkml:context>
    <inkml:brush xml:id="br0">
      <inkml:brushProperty name="width" value="0.035" units="cm"/>
      <inkml:brushProperty name="height" value="0.035" units="cm"/>
      <inkml:brushProperty name="color" value="#E71224"/>
    </inkml:brush>
  </inkml:definitions>
  <inkml:trace contextRef="#ctx0" brushRef="#br0">0 1 24575,'0'9'0,"1"0"0,0 0 0,0 1 0,1-1 0,0 0 0,0 0 0,1 0 0,0-1 0,8 16 0,0-7 0,0-1 0,0 0 0,23 22 0,-22-23 0,0 1 0,15 25 0,20 28 0,55 48 0,-90-102 0,0 1 0,-1 1 0,-1-1 0,11 23 0,-11-18 0,2-1 0,21 31 0,29 40-1365,-51-75-5461</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4:40.384"/>
    </inkml:context>
    <inkml:brush xml:id="br0">
      <inkml:brushProperty name="width" value="0.035" units="cm"/>
      <inkml:brushProperty name="height" value="0.035" units="cm"/>
      <inkml:brushProperty name="color" value="#E71224"/>
    </inkml:brush>
  </inkml:definitions>
  <inkml:trace contextRef="#ctx0" brushRef="#br0">295 1 24575,'-13'0'0,"0"1"0,0 0 0,0 1 0,1 1 0,-1 0 0,0 1 0,1 0 0,0 1 0,0 0 0,0 1 0,1 0 0,-14 10 0,17-10 0,1 0 0,0 0 0,0 0 0,0 1 0,1 0 0,0 0 0,1 1 0,0 0 0,0 0 0,0 0 0,1 0 0,0 1 0,1 0 0,0 0 0,0 0 0,1 0 0,-2 16 0,-10 65 0,9-71 0,1 0 0,1 0 0,1 1 0,1-1 0,1 1 0,0-1 0,1 0 0,6 31 0,-5-46 0,0 1 0,0-1 0,0 1 0,0-1 0,1 0 0,0 0 0,0 0 0,0 0 0,0 0 0,1-1 0,-1 1 0,1-1 0,0 0 0,0 0 0,0-1 0,0 1 0,1-1 0,-1 0 0,1 0 0,0 0 0,-1-1 0,1 1 0,9 0 0,9 2 0,1-2 0,0 0 0,40-3 0,-42 0 0,-18 1 0,1 0 0,0 0 0,0 0 0,0-1 0,-1 1 0,1-1 0,0-1 0,-1 1 0,1-1 0,-1 0 0,1 0 0,-1 0 0,4-3 0,-4 2 0,-1-1 0,0 1 0,0-1 0,-1 0 0,1 0 0,-1 0 0,0-1 0,0 1 0,0 0 0,0-1 0,-1 0 0,0 1 0,1-6 0,-1 7 0,0-1 0,0 1 0,-1-1 0,1 1 0,-1 0 0,0-1 0,0 1 0,0-1 0,0 1 0,0-1 0,-1 1 0,0 0 0,0-1 0,-1-3 0,0 5 0,1 0 0,-1-1 0,0 1 0,0 0 0,0 0 0,0 0 0,-1 1 0,1-1 0,0 0 0,-1 1 0,1 0 0,-1-1 0,1 1 0,-1 0 0,0 0 0,0 1 0,-4-2 0,-21-5-1365,1 0-5461</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6:16.142"/>
    </inkml:context>
    <inkml:brush xml:id="br0">
      <inkml:brushProperty name="width" value="0.035" units="cm"/>
      <inkml:brushProperty name="height" value="0.035" units="cm"/>
      <inkml:brushProperty name="color" value="#E71224"/>
    </inkml:brush>
  </inkml:definitions>
  <inkml:trace contextRef="#ctx0" brushRef="#br0">1404 351 24575,'0'-6'0,"-1"1"0,0 0 0,0 0 0,0 0 0,-1 0 0,1 0 0,-1 0 0,-1 0 0,1 1 0,-1-1 0,-3-3 0,-39-50 0,25 35 0,8 10 0,0 1 0,0 1 0,-1 0 0,0 0 0,-1 2 0,-1-1 0,1 2 0,-1 0 0,-1 1 0,-17-6 0,-25-6 0,-87-17 0,86 23 0,-13 1 0,0 4 0,0 3 0,-136 7 0,80 1 0,121-3 0,-20 0 0,-1 0 0,1 2 0,0 1 0,-35 9 0,55-10 0,0 0 0,1 0 0,-1 1 0,1 0 0,-1 0 0,1 0 0,0 1 0,0 0 0,1 0 0,-1 1 0,1-1 0,0 1 0,0 0 0,1 1 0,-1-1 0,1 1 0,0 0 0,1 0 0,-1 0 0,1 1 0,1-1 0,-3 8 0,-5 20 0,2-1 0,1 1 0,2 0 0,1 0 0,1 1 0,5 59 0,-1-87 0,1 0 0,-1 0 0,2 0 0,-1-1 0,1 1 0,0 0 0,0-1 0,1 0 0,-1 0 0,1 0 0,1 0 0,-1-1 0,10 9 0,-6-7 0,-1 0 0,1-1 0,0 0 0,1-1 0,-1 1 0,1-2 0,0 1 0,1-1 0,10 3 0,23 7 0,-1 2 0,47 25 0,33 14 0,119 21 0,-218-71 0,0-1 0,0-1 0,0-1 0,0-2 0,0 0 0,0-1 0,0-1 0,0-1 0,-1-1 0,26-8 0,-15 2 0,0-2 0,-1-2 0,0 0 0,-1-3 0,57-39 0,-31 3 0,-26 22 0,-21 20 0,0 1 0,0-2 0,-2 1 0,1-1 0,-2-1 0,1 1 0,-2-1 0,1-1 0,-2 1 0,0-1 0,-1 0 0,0 0 0,-1 0 0,0 0 0,-2-1 0,1 0 0,-2 1 0,0-1 0,-1 1 0,0-1 0,-5-19 0,0 2-1365,1 4-5461</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7:10.408"/>
    </inkml:context>
    <inkml:brush xml:id="br0">
      <inkml:brushProperty name="width" value="0.035" units="cm"/>
      <inkml:brushProperty name="height" value="0.035" units="cm"/>
      <inkml:brushProperty name="color" value="#E71224"/>
    </inkml:brush>
  </inkml:definitions>
  <inkml:trace contextRef="#ctx0" brushRef="#br0">5556 1119 24575,'-1'93'0,"3"106"0,2-180 0,1 1 0,1-1 0,1 0 0,1 0 0,0-1 0,1 0 0,17 24 0,-11-16 0,-7-10 0,0 0 0,-1 0 0,-1 1 0,-1 0 0,0 0 0,-1 0 0,3 27 0,-6-31 0,0 1 0,-1-1 0,-1 1 0,0-1 0,0 0 0,-2 0 0,1 1 0,-2-2 0,0 1 0,-9 20 0,11-29 0,-1 0 0,0 0 0,0 0 0,0 0 0,-1 0 0,0-1 0,1 0 0,-1 0 0,0 0 0,0 0 0,-1 0 0,1-1 0,-1 0 0,1 0 0,-1 0 0,0 0 0,1-1 0,-1 0 0,-9 1 0,-10 1 0,-1-1 0,-45-2 0,38-1 0,-372 26 0,126-2 0,-70 1 0,-276 7 0,-778-32 0,1274-5 0,-172-29 0,179 17 0,-192-5 0,301 23 0,0-1 0,0-1 0,0 0 0,0-1 0,0 0 0,1-1 0,0 0 0,0-1 0,0 0 0,0-1 0,1 0 0,-1 0 0,2-1 0,-12-11 0,-7-7 0,2-1 0,2-1 0,-32-43 0,-79-143 0,61 90 0,59 96 0,0 0 0,-10-32 0,15 34 0,-1 0 0,-1 1 0,-21-33 0,-223-260 0,246 304 0,0-1 0,0 0 0,1-1 0,-7-16 0,-23-38 0,2 20 0,2-2 0,3-1 0,-41-89 0,63 122 0,0-1 0,-2 2 0,-27-35 0,-17-26 0,41 57 0,-1 0 0,-1 1 0,-1 0 0,-1 2 0,-36-30 0,-4-5 0,58 53 0,0 0 0,0 0 0,0 0 0,0 0 0,-1 0 0,1 0 0,1 0 0,-1 0 0,0-1 0,0 1 0,0 0 0,1-1 0,-1 1 0,0 0 0,1-1 0,0 1 0,-1-1 0,1 1 0,0-1 0,0 1 0,-1-1 0,1-2 0,1 3 0,0 0 0,0 0 0,-1 0 0,1 0 0,0 0 0,0 0 0,0 0 0,0 0 0,0 1 0,0-1 0,0 0 0,1 0 0,-1 1 0,0-1 0,0 1 0,0-1 0,1 1 0,-1 0 0,0-1 0,2 1 0,11-2 0,0 0 0,1 1 0,20 2 0,-27-1 0,55 0 0,-34-2 0,1 3 0,-1 0 0,55 10 0,-78-9-72,0 1 1,0-1-1,0 1 0,0 0 0,-1 1 0,1-1 0,-1 1 0,0 0 1,0 1-1,0-1 0,-1 1 0,0 0 0,0 0 0,0 0 0,0 1 1,-1-1-1,0 1 0,3 6 0,2 5-6754</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3:25.745"/>
    </inkml:context>
    <inkml:brush xml:id="br0">
      <inkml:brushProperty name="width" value="0.035" units="cm"/>
      <inkml:brushProperty name="height" value="0.035" units="cm"/>
      <inkml:brushProperty name="color" value="#E71224"/>
    </inkml:brush>
  </inkml:definitions>
  <inkml:trace contextRef="#ctx0" brushRef="#br0">308 0 24575,'-189'15'0,"112"-6"0,75-9 0,0 0 0,0 1 0,1-1 0,-1 0 0,0 1 0,0-1 0,1 1 0,-1-1 0,0 1 0,1 0 0,-1 0 0,1-1 0,-1 1 0,1 0 0,-1 1 0,1-1 0,0 0 0,0 0 0,-1 1 0,1-1 0,0 0 0,0 1 0,0-1 0,0 1 0,1 0 0,-1-1 0,0 1 0,1 0 0,-1-1 0,1 1 0,-1 0 0,1 0 0,0-1 0,0 1 0,0 0 0,0 0 0,0-1 0,0 1 0,0 0 0,0 0 0,1-1 0,-1 1 0,2 3 0,3 11 0,0 0 0,2-1 0,15 29 0,-10-19 0,-10-20 0,0-1 0,0 0 0,0 0 0,0 0 0,1 0 0,0 0 0,-1 0 0,1-1 0,1 1 0,-1-1 0,0 0 0,1 0 0,0 0 0,0-1 0,5 4 0,-1-3 0,0-1 0,0 0 0,0 0 0,0-1 0,0 0 0,1-1 0,15 0 0,15-2 0,-31 1 0,-1-1 0,1 2 0,0-1 0,0 1 0,0 1 0,0-1 0,0 1 0,0 1 0,-1-1 0,1 1 0,0 1 0,-1-1 0,1 1 0,11 7 0,-11-4 0,7 5 0,0 1 0,0 0 0,-1 1 0,0 0 0,12 18 0,-24-29 0,0 0 0,-1 1 0,1-1 0,0 1 0,-1 0 0,0-1 0,0 1 0,0 0 0,0 0 0,0 0 0,0 0 0,-1 0 0,1 0 0,-1 0 0,0 0 0,0 0 0,0 0 0,0 0 0,-1 0 0,1 0 0,-1 0 0,0 0 0,0 0 0,0-1 0,0 1 0,0 0 0,-1 0 0,1-1 0,-1 1 0,0-1 0,1 1 0,-1-1 0,0 0 0,-1 0 0,1 0 0,0 0 0,-1 0 0,1 0 0,-5 2 0,-3 2 0,0-1 0,0 0 0,0 0 0,-1-1 0,0-1 0,1 0 0,-1 0 0,0-1 0,-19 2 0,-2-3 0,-1 0 0,-34-5 0,64 4-124,-1 0 0,1-1 0,-1 1 0,1-1 0,-1 0 0,1 0-1,0-1 1,-1 1 0,1-1 0,-4-2 0,-4-6-6702</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7:11.816"/>
    </inkml:context>
    <inkml:brush xml:id="br0">
      <inkml:brushProperty name="width" value="0.035" units="cm"/>
      <inkml:brushProperty name="height" value="0.035" units="cm"/>
      <inkml:brushProperty name="color" value="#E71224"/>
    </inkml:brush>
  </inkml:definitions>
  <inkml:trace contextRef="#ctx0" brushRef="#br0">27 1 24575,'0'4'0,"0"6"0,0 6 0,0 5 0,0 3 0,0 2 0,0 1 0,0 1 0,-4-5 0,-2-1 0,0-1 0,2 1 0,1 2 0,1 0 0,1 2 0,0 0 0,1 0 0,0-4-8191</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3:18.280"/>
    </inkml:context>
    <inkml:brush xml:id="br0">
      <inkml:brushProperty name="width" value="0.035" units="cm"/>
      <inkml:brushProperty name="height" value="0.035" units="cm"/>
      <inkml:brushProperty name="color" value="#E71224"/>
    </inkml:brush>
  </inkml:definitions>
  <inkml:trace contextRef="#ctx0" brushRef="#br0">0 490 24575,'7'-2'0,"-1"0"0,1 0 0,-1 0 0,0 0 0,0-1 0,0 0 0,0-1 0,6-4 0,13-6 0,19-7 0,-2-3 0,75-54 0,23-14 0,-92 63 0,1 2 0,1 3 0,96-33 0,-72 29 0,-56 21-273,-2-1 0,1-1 0,-2 0 0,16-12 0,-12 7-6553</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3:39.371"/>
    </inkml:context>
    <inkml:brush xml:id="br0">
      <inkml:brushProperty name="width" value="0.035" units="cm"/>
      <inkml:brushProperty name="height" value="0.035" units="cm"/>
      <inkml:brushProperty name="color" value="#E71224"/>
    </inkml:brush>
  </inkml:definitions>
  <inkml:trace contextRef="#ctx0" brushRef="#br0">11 1 24575,'0'4'0,"0"7"0,0-4 0,0-7 0,-4-8 0,-2-3-8191</inkml:trace>
</inkml:ink>
</file>

<file path=ppt/ink/ink1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5:50.121"/>
    </inkml:context>
    <inkml:brush xml:id="br0">
      <inkml:brushProperty name="width" value="0.035" units="cm"/>
      <inkml:brushProperty name="height" value="0.035" units="cm"/>
      <inkml:brushProperty name="color" value="#E71224"/>
    </inkml:brush>
  </inkml:definitions>
  <inkml:trace contextRef="#ctx0" brushRef="#br0">0 279 24575,'1'-31'0,"1"0"0,2 0 0,0 1 0,3-1 0,0 1 0,12-29 0,-19 57 0,1-1 0,0 1 0,0 0 0,0 0 0,0 0 0,0 0 0,0 0 0,0 0 0,1 0 0,-1 0 0,1 0 0,-1 0 0,1 1 0,0-1 0,-1 1 0,4-3 0,-4 4 0,0 0 0,0 0 0,0 0 0,0 0 0,0 0 0,1 0 0,-1 0 0,0 0 0,0 0 0,0 0 0,0 0 0,0 1 0,-1-1 0,1 0 0,0 1 0,0-1 0,0 1 0,0-1 0,0 1 0,0 0 0,-1-1 0,1 1 0,0 0 0,0-1 0,0 2 0,4 5 0,0-1 0,-1 1 0,0 0 0,0 0 0,-1 0 0,0 1 0,4 13 0,4 16 0,1-1 0,2-1 0,1 0 0,24 39 0,-37-71 0,-1 1 0,1-1 0,0 1 0,1-1 0,-1 0 0,0 0 0,1 0 0,0 0 0,0-1 0,-1 1 0,1-1 0,1 0 0,-1 1 0,0-1 0,1-1 0,-1 1 0,1 0 0,-1-1 0,1 0 0,0 0 0,0 0 0,-1 0 0,1 0 0,0-1 0,0 0 0,0 0 0,0 0 0,0 0 0,-1-1 0,1 1 0,0-1 0,0 0 0,0 0 0,5-3 0,-3 1 0,0-1 0,0 0 0,0 0 0,-1 0 0,1-1 0,-1 1 0,-1-1 0,1 0 0,-1-1 0,1 1 0,-2-1 0,1 0 0,-1 0 0,1 0 0,-2-1 0,1 1 0,-1-1 0,3-12 0,-2 6-151,-1 0-1,-1 0 0,0 0 0,-1 0 1,0 1-1,-1-1 0,0 0 1,-5-18-1,0 14-6674</inkml:trace>
</inkml:ink>
</file>

<file path=ppt/ink/ink1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5:52.028"/>
    </inkml:context>
    <inkml:brush xml:id="br0">
      <inkml:brushProperty name="width" value="0.035" units="cm"/>
      <inkml:brushProperty name="height" value="0.035" units="cm"/>
      <inkml:brushProperty name="color" value="#E71224"/>
    </inkml:brush>
  </inkml:definitions>
  <inkml:trace contextRef="#ctx0" brushRef="#br0">29 28 24575,'-1'15'0,"0"0"0,-2 0 0,-4 17 0,-4 31 0,9-45 0,0-2 0,1-1 0,1 1 0,0 0 0,1 0 0,3 21 0,-3-34 0,0 1 0,0 0 0,1-1 0,-1 1 0,1-1 0,-1 0 0,1 1 0,0-1 0,0 0 0,1 0 0,-1 0 0,1 0 0,-1-1 0,1 1 0,0-1 0,0 1 0,0-1 0,0 0 0,0 0 0,1 0 0,-1-1 0,1 1 0,-1-1 0,1 0 0,-1 0 0,1 0 0,0 0 0,3 0 0,1-1 0,0 1 0,-1-1 0,1 0 0,0 0 0,-1-1 0,1 0 0,0-1 0,-1 0 0,1 0 0,-1 0 0,0-1 0,0 0 0,0-1 0,0 1 0,-1-1 0,1-1 0,-1 1 0,0-1 0,0 0 0,5-7 0,-4 5 0,-1-1 0,0 0 0,0 0 0,-1 0 0,0-1 0,-1 1 0,0-1 0,0 0 0,-1-1 0,0 1 0,0-1 0,-1 1 0,-1-1 0,0 0 0,0-13 0,-1 12 0,0 0 0,-2 0 0,1-1 0,-1 1 0,-1 1 0,0-1 0,0 0 0,-1 1 0,-6-11 0,9 18 0,-1 0 0,1 1 0,-1-1 0,0 0 0,0 1 0,0 0 0,0 0 0,-1-1 0,1 1 0,-1 1 0,1-1 0,-1 0 0,1 0 0,-1 1 0,0 0 0,0-1 0,0 1 0,0 0 0,0 1 0,0-1 0,0 0 0,0 1 0,0 0 0,0-1 0,0 1 0,0 1 0,0-1 0,0 0 0,-1 1 0,1-1 0,0 1 0,0 0 0,1 0 0,-1 0 0,0 1 0,0-1 0,-3 3 0,-128 74-1365,101-61-5461</inkml:trace>
</inkml:ink>
</file>

<file path=ppt/ink/ink1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5:53.342"/>
    </inkml:context>
    <inkml:brush xml:id="br0">
      <inkml:brushProperty name="width" value="0.035" units="cm"/>
      <inkml:brushProperty name="height" value="0.035" units="cm"/>
      <inkml:brushProperty name="color" value="#E71224"/>
    </inkml:brush>
  </inkml:definitions>
  <inkml:trace contextRef="#ctx0" brushRef="#br0">2 1 24575,'0'638'0,"0"-633"-118,0-2 49,-1-1-1,1 1 1,0 0 0,0-1-1,0 1 1,0-1 0,0 1 0,1-1-1,-1 1 1,1-1 0,0 1 0,0-1-1,0 0 1,0 1 0,0-1-1,0 0 1,3 4 0,2-6-6757</inkml:trace>
</inkml:ink>
</file>

<file path=ppt/ink/ink1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5:54.328"/>
    </inkml:context>
    <inkml:brush xml:id="br0">
      <inkml:brushProperty name="width" value="0.035" units="cm"/>
      <inkml:brushProperty name="height" value="0.035" units="cm"/>
      <inkml:brushProperty name="color" value="#E71224"/>
    </inkml:brush>
  </inkml:definitions>
  <inkml:trace contextRef="#ctx0" brushRef="#br0">0 8 24575,'5'0'0,"10"4"0,12 2 0,10 0 0,3-1 0,-1-2 0,-1-1 0,-4-1 0,1 0 0,9-6 0,6-1 0,2 0 0,-6-3 0,-12-1-8191</inkml:trace>
</inkml:ink>
</file>

<file path=ppt/ink/ink1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5:58.630"/>
    </inkml:context>
    <inkml:brush xml:id="br0">
      <inkml:brushProperty name="width" value="0.035" units="cm"/>
      <inkml:brushProperty name="height" value="0.035" units="cm"/>
      <inkml:brushProperty name="color" value="#E71224"/>
    </inkml:brush>
  </inkml:definitions>
  <inkml:trace contextRef="#ctx0" brushRef="#br0">101 1 24575,'-2'0'0,"1"1"0,-1-1 0,0 1 0,0 0 0,1 0 0,-1 0 0,1 0 0,-1 0 0,1 0 0,-1 0 0,1 1 0,-1-1 0,1 0 0,0 1 0,0-1 0,0 1 0,0-1 0,0 1 0,0 0 0,0-1 0,0 1 0,0 3 0,-13 39 0,9-19 0,1 0 0,0 35 0,3-51 0,1-1 0,1 1 0,-1 0 0,1-1 0,1 1 0,0-1 0,0 0 0,0 1 0,1-1 0,6 11 0,-8-18 0,-1 1 0,1-1 0,-1 0 0,1 0 0,0 1 0,0-1 0,-1 0 0,1 0 0,0 0 0,0 0 0,0 0 0,0 0 0,1 0 0,-1 0 0,0-1 0,0 1 0,0 0 0,1-1 0,-1 1 0,0-1 0,1 1 0,-1-1 0,0 0 0,1 1 0,-1-1 0,1 0 0,-1 0 0,0 0 0,1 0 0,-1 0 0,1 0 0,-1-1 0,0 1 0,1 0 0,-1-1 0,0 1 0,1-1 0,-1 1 0,0-1 0,1 0 0,-1 0 0,0 1 0,0-1 0,0 0 0,0 0 0,0 0 0,1-1 0,1-2 0,1 0 0,-1 0 0,0 0 0,-1-1 0,1 1 0,-1 0 0,0-1 0,0 0 0,0 0 0,-1 1 0,1-1 0,0-6 0,-10-44 0,7 51 0,-1-1 0,1 1 0,0-1 0,0 1 0,0-1 0,1 0 0,-1 0 0,1 1 0,0-1 0,1 0 0,-1 0 0,1 1 0,0-1 0,0 0 0,0 1 0,4-9 0,-5 13 0,1 0 0,-1-1 0,0 1 0,0 0 0,1-1 0,-1 1 0,0 0 0,0 0 0,1-1 0,-1 1 0,0 0 0,1 0 0,-1 0 0,0-1 0,1 1 0,-1 0 0,0 0 0,1 0 0,-1 0 0,0 0 0,1 0 0,-1 0 0,1 0 0,-1-1 0,0 1 0,1 1 0,-1-1 0,1 0 0,-1 0 0,0 0 0,1 0 0,-1 0 0,0 0 0,1 0 0,-1 0 0,1 1 0,9 14 0,-1 22 0,-2 29 0,-4 1 0,-6 87 0,0-27 0,4-123 0,-1-1 0,0 0 0,0 1 0,0-1 0,-1 0 0,1 0 0,-1 1 0,0-1 0,0 0 0,0 0 0,0 0 0,0 0 0,-1 0 0,1 0 0,-1 0 0,0-1 0,0 1 0,0 0 0,0-1 0,-1 0 0,-2 3 0,0-2 0,0-1 0,0 0 0,-1 0 0,1 0 0,-1 0 0,1-1 0,-1 0 0,0 0 0,0-1 0,1 0 0,-10 0 0,11 0-91,-1 0 0,1 0 0,0 0 0,0-1 0,-1 1 0,1-1 0,0 0 0,0 0 0,0-1 0,0 1 0,0-1 0,0 0 0,1 0 0,-6-3 0,-3-8-6735</inkml:trace>
</inkml:ink>
</file>

<file path=ppt/ink/ink1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6:00.897"/>
    </inkml:context>
    <inkml:brush xml:id="br0">
      <inkml:brushProperty name="width" value="0.035" units="cm"/>
      <inkml:brushProperty name="height" value="0.035" units="cm"/>
      <inkml:brushProperty name="color" value="#E71224"/>
    </inkml:brush>
  </inkml:definitions>
  <inkml:trace contextRef="#ctx0" brushRef="#br0">55 7 24575,'-2'0'0,"0"1"0,-1-1 0,1 1 0,0 0 0,-1 0 0,1 0 0,0 1 0,0-1 0,0 0 0,0 1 0,0-1 0,0 1 0,1 0 0,-1-1 0,0 1 0,1 0 0,-1 0 0,1 0 0,0 0 0,0 0 0,0 1 0,0-1 0,0 0 0,0 1 0,0-1 0,1 0 0,-1 1 0,1 3 0,-3 10 0,0 0 0,0 30 0,2-34 0,1-1 0,1 1 0,0 0 0,0 0 0,1-1 0,6 20 0,-7-29 0,0 0 0,-1 0 0,1 0 0,0 0 0,0 0 0,1 0 0,-1 0 0,0-1 0,0 1 0,1 0 0,-1-1 0,1 1 0,0-1 0,-1 1 0,1-1 0,0 0 0,0 0 0,0 0 0,0 0 0,0 0 0,0 0 0,0 0 0,0-1 0,0 1 0,0-1 0,0 0 0,1 1 0,-1-1 0,0 0 0,0 0 0,0 0 0,0-1 0,1 1 0,-1 0 0,0-1 0,0 0 0,0 1 0,0-1 0,0 0 0,0 0 0,0 0 0,0 0 0,0 0 0,1-2 0,3-1 6,-1 0-1,0 0 1,0-1-1,0 1 0,0-1 1,-1 0-1,1-1 1,-2 1-1,1-1 1,0 0-1,-1 0 1,0 0-1,-1 0 0,1 0 1,-1-1-1,0 1 1,-1-1-1,1 1 1,-1-1-1,-1 0 1,1-11-1,-1 13-55,0 0 1,0 0-1,0 0 1,-1 0-1,1 0 1,-1 0-1,0 0 1,-1 0-1,1 0 1,-1 1-1,0-1 1,0 0-1,-1 1 1,1 0-1,-1-1 1,0 1-1,0 0 1,0 0-1,-1 1 1,0-1-1,1 1 1,-1 0-1,0 0 1,-1 0-1,1 0 1,0 1-1,-1-1 1,1 1-1,-7-2 1,-10 0-6777</inkml:trace>
</inkml:ink>
</file>

<file path=ppt/ink/ink1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6:02.915"/>
    </inkml:context>
    <inkml:brush xml:id="br0">
      <inkml:brushProperty name="width" value="0.035" units="cm"/>
      <inkml:brushProperty name="height" value="0.035" units="cm"/>
      <inkml:brushProperty name="color" value="#E71224"/>
    </inkml:brush>
  </inkml:definitions>
  <inkml:trace contextRef="#ctx0" brushRef="#br0">52 1 24575,'-6'10'0,"0"0"0,0 0 0,1 1 0,0 0 0,1 0 0,0 0 0,1 1 0,0-1 0,1 1 0,-1 12 0,1-13 0,0 0 0,2 0 0,-1 0 0,1 0 0,1 0 0,0 0 0,2 12 0,-2-20 0,0 0 0,0 1 0,1-1 0,-1 0 0,1 0 0,0 0 0,-1 0 0,1 0 0,1 0 0,-1 0 0,0-1 0,1 1 0,-1-1 0,1 0 0,0 1 0,0-1 0,-1-1 0,1 1 0,1 0 0,-1-1 0,0 1 0,0-1 0,1 0 0,-1 0 0,0 0 0,5 0 0,-3 0 0,0 0 0,0 0 0,-1-1 0,1 0 0,0 0 0,0 0 0,0 0 0,0-1 0,0 0 0,0 0 0,-1 0 0,1 0 0,0-1 0,6-3 0,-8 3 0,0-1 0,0 1 0,-1-1 0,1 1 0,-1-1 0,0 0 0,0 0 0,0 0 0,0 0 0,0 0 0,0-1 0,-1 1 0,0 0 0,0-1 0,0 1 0,0-1 0,0 1 0,-1-1 0,1 1 0,-1-6 0,1-8 30,0-1 0,-1 1 0,-4-29 0,3 42-113,0-1 1,0 0-1,0 1 1,-1-1-1,0 1 1,0-1-1,0 1 1,0 0-1,-1 0 1,1 0-1,-1 0 1,0 0-1,0 1 1,-1-1-1,1 1 1,-1 0-1,-6-5 1,-12-3-6744</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6:39.639"/>
    </inkml:context>
    <inkml:brush xml:id="br0">
      <inkml:brushProperty name="width" value="0.035" units="cm"/>
      <inkml:brushProperty name="height" value="0.035" units="cm"/>
      <inkml:brushProperty name="color" value="#E71224"/>
    </inkml:brush>
  </inkml:definitions>
  <inkml:trace contextRef="#ctx0" brushRef="#br0">2033 69 24575,'-1'-1'0,"1"0"0,-1 0 0,1 0 0,-1 0 0,0 0 0,0 0 0,0 1 0,1-1 0,-1 0 0,0 0 0,0 1 0,0-1 0,0 1 0,0-1 0,0 1 0,-1-1 0,1 1 0,0-1 0,0 1 0,0 0 0,0 0 0,0-1 0,-1 1 0,0 0 0,-36-4 0,35 4 0,-197-2 0,5 1 0,36-21 0,99 12 0,-64-2 0,-453 10 0,284 4 0,267-2 0,1 1 0,-1 1 0,1 1 0,0 1 0,-26 8 0,42-9 0,0 0 0,1 0 0,-1 1 0,1 0 0,0 1 0,0 0 0,1 0 0,-1 0 0,1 1 0,0 0 0,1 1 0,0-1 0,0 1 0,0 1 0,1-1 0,-1 1 0,-4 11 0,2-4 0,1 0 0,1 1 0,0 0 0,1 0 0,0 0 0,2 1 0,0-1 0,0 1 0,2 0 0,0 0 0,1 0 0,1 0 0,0 0 0,2 0 0,0-1 0,0 1 0,2-1 0,0 0 0,12 28 0,-12-37 0,-1 1 0,1-1 0,1 0 0,-1 0 0,1-1 0,0 1 0,1-1 0,0-1 0,0 1 0,0-1 0,0 0 0,9 4 0,14 5 0,61 21 0,-50-21 0,25 8 0,1-3 0,1-3 0,115 12 0,213-6 0,-261-18 0,-5 1 0,238-24 0,-325 11 0,0-2 0,60-22 0,-63 18 0,-32 11 0,-1-1 0,1 0 0,-1 0 0,0-1 0,0 1 0,-1-2 0,0 1 0,0-1 0,0 0 0,0 0 0,-1 0 0,0-1 0,0 0 0,6-13 0,-3 4 0,0 0 0,-1-1 0,-1 0 0,-1 0 0,0 0 0,2-18 0,-3-9 10,-2-1 0,-5-52-1,1 17-1403,2 61-5432</inkml:trace>
</inkml:ink>
</file>

<file path=ppt/ink/ink1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6:05.605"/>
    </inkml:context>
    <inkml:brush xml:id="br0">
      <inkml:brushProperty name="width" value="0.035" units="cm"/>
      <inkml:brushProperty name="height" value="0.035" units="cm"/>
      <inkml:brushProperty name="color" value="#E71224"/>
    </inkml:brush>
  </inkml:definitions>
  <inkml:trace contextRef="#ctx0" brushRef="#br0">191 1 24575,'-21'66'0,"13"30"0,7 164 0,4-109 0,-2-119 0,-1 15 0,0-34 0,-1-13 0,-25-135 0,26 133 0,-1-1 0,1 0 0,-1 0 0,0 1 0,0-1 0,0 1 0,0-1 0,-1 1 0,1-1 0,0 1 0,-1 0 0,0 0 0,0-1 0,1 1 0,-1 0 0,0 1 0,-1-1 0,1 0 0,0 1 0,0-1 0,-1 1 0,1-1 0,-4 0 0,4 2 0,0-1 0,0 1 0,0-1 0,0 1 0,0 0 0,0 0 0,0 0 0,-1 0 0,1 0 0,0 1 0,0-1 0,0 1 0,0-1 0,0 1 0,0 0 0,0 0 0,0 0 0,0 0 0,1 0 0,-1 0 0,0 0 0,0 0 0,1 1 0,-1-1 0,1 1 0,-1 0 0,1-1 0,0 1 0,-2 3 0,-4 8 0,1 0 0,1 1 0,0 0 0,1 0 0,0 0 0,1 0 0,1 0 0,0 1 0,1-1 0,1 1 0,0-1 0,5 30 0,-5-43 3,0 1 0,0-1-1,0 1 1,0 0 0,0-1 0,1 1-1,-1-1 1,1 1 0,-1-1-1,1 1 1,0-1 0,-1 1 0,1-1-1,0 0 1,0 0 0,0 1 0,0-1-1,0 0 1,0 0 0,1 0-1,-1 0 1,0 0 0,0 0 0,1 0-1,-1 0 1,1-1 0,-1 1-1,1 0 1,-1-1 0,1 1 0,-1-1-1,1 0 1,-1 1 0,1-1-1,0 0 1,-1 0 0,1 0 0,-1 0-1,1 0 1,0-1 0,-1 1 0,1 0-1,2-2 1,1 1-127,0-1 0,1 0 1,-1 0-1,0-1 0,0 0 0,0 1 1,-1-2-1,1 1 0,-1 0 0,0-1 1,6-6-1,3-8-6702</inkml:trace>
</inkml:ink>
</file>

<file path=ppt/ink/ink1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5:45.591"/>
    </inkml:context>
    <inkml:brush xml:id="br0">
      <inkml:brushProperty name="width" value="0.035" units="cm"/>
      <inkml:brushProperty name="height" value="0.035" units="cm"/>
      <inkml:brushProperty name="color" value="#E71224"/>
    </inkml:brush>
  </inkml:definitions>
  <inkml:trace contextRef="#ctx0" brushRef="#br0">1080 172 24575,'-542'16'0,"72"-5"0,466-11 0,1 0 0,-1 0 0,0 0 0,1-1 0,-1 1 0,0-1 0,1 0 0,-1 0 0,1-1 0,-1 1 0,1-1 0,0 1 0,-1-1 0,1 0 0,-4-4 0,6 5 0,0-1 0,0 1 0,0-1 0,0 0 0,1 1 0,-1-1 0,0 0 0,1 1 0,0-1 0,-1 0 0,1 1 0,0-1 0,0 0 0,0 0 0,0 0 0,0 1 0,1-1 0,-1 0 0,0 1 0,1-1 0,-1 0 0,1 0 0,0 1 0,-1-1 0,1 1 0,0-1 0,0 1 0,0-1 0,0 1 0,0 0 0,1-1 0,-1 1 0,0 0 0,3-2 0,9-10 0,1 1 0,0 0 0,1 1 0,0 1 0,1 0 0,0 1 0,22-9 0,36-2-1365,-51 13-5461</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5:46.982"/>
    </inkml:context>
    <inkml:brush xml:id="br0">
      <inkml:brushProperty name="width" value="0.035" units="cm"/>
      <inkml:brushProperty name="height" value="0.035" units="cm"/>
      <inkml:brushProperty name="color" value="#E71224"/>
    </inkml:brush>
  </inkml:definitions>
  <inkml:trace contextRef="#ctx0" brushRef="#br0">0 1 24575,'9'0'0,"12"0"0,2 4 0,2 7 0,1 0 0,1 9 0,0 0 0,0 1 0,0-3 0,-4 1 0,-3-4 0,-3-4-8191</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3:05.260"/>
    </inkml:context>
    <inkml:brush xml:id="br0">
      <inkml:brushProperty name="width" value="0.035" units="cm"/>
      <inkml:brushProperty name="height" value="0.035" units="cm"/>
      <inkml:brushProperty name="color" value="#E71224"/>
    </inkml:brush>
  </inkml:definitions>
  <inkml:trace contextRef="#ctx0" brushRef="#br0">2754 378 24575,'-3'2'0,"0"0"0,0 0 0,0 0 0,-1 0 0,1-1 0,-1 1 0,1-1 0,-1 0 0,0 0 0,1 0 0,-7 0 0,-49 3 0,37-3 0,-60 5 0,1 3 0,-158 40 0,182-34 0,29-8 0,-46 17 0,40-12 0,0-1 0,0-2 0,-1-2 0,0-1 0,-1-1 0,1-2 0,-54-3 0,74-1 0,0-1 0,0-1 0,1-1 0,-1 0 0,1-1 0,0 0 0,1-1 0,-26-15 0,19 10 0,0 1 0,-44-14 0,-51-5 0,-1 5 0,-166-13 0,206 36 0,-141 16 0,147-8 0,-1-2 0,-97-6 0,148-1 0,1-2 0,0-1 0,-27-10 0,26 9 0,1 0 0,-40-7 0,52 13 0,1 1 0,-1-1 0,0 1 0,0 0 0,1 1 0,-1 0 0,1 0 0,0 0 0,-1 1 0,1 0 0,0 0 0,0 0 0,1 1 0,-1 0 0,1 0 0,-8 7 0,-14 9 0,27-19 0,0-1 0,-1 0 0,1 1 0,0-1 0,0 0 0,-1 1 0,1-1 0,-1 0 0,1 0 0,0 0 0,-1 1 0,1-1 0,-1 0 0,1 0 0,0 0 0,-1 0 0,1 0 0,-1 0 0,1 0 0,-1 0 0,1 0 0,0 0 0,-1 0 0,1 0 0,-1 0 0,1 0 0,-1 0 0,1 0 0,0 0 0,-1-1 0,1 1 0,-1 0 0,1 0 0,0 0 0,-1-1 0,1 1 0,0 0 0,-1-1 0,1 1 0,0 0 0,0-1 0,-1 1 0,1 0 0,0-1 0,0 1 0,-1 0 0,1-1 0,0 1 0,0-1 0,0 1 0,0 0 0,0-1 0,0 1 0,-1-1 0,1 1 0,0-1 0,0 1 0,0 0 0,1-1 0,-1 1 0,0-1 0,0 1 0,0-1 0,0 1 0,0 0 0,0-1 0,1 1 0,-1-1 0,0 1 0,7-35 0,-6 32 0,40-119 0,-37 112 0,0-1 0,1 1 0,1 0 0,0 0 0,0 1 0,0 0 0,2 0 0,-1 0 0,11-9 0,-7 12 0,0-1 0,0 1 0,0 1 0,22-7 0,9-5 0,9-4-31,-33 14-235,-1 0-1,1-1 0,-1-1 0,21-15 0,-24 12-6559</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3:07.341"/>
    </inkml:context>
    <inkml:brush xml:id="br0">
      <inkml:brushProperty name="width" value="0.035" units="cm"/>
      <inkml:brushProperty name="height" value="0.035" units="cm"/>
      <inkml:brushProperty name="color" value="#E71224"/>
    </inkml:brush>
  </inkml:definitions>
  <inkml:trace contextRef="#ctx0" brushRef="#br0">0 1 24575,'1'1'0,"-1"1"0,1-1 0,0 0 0,-1 1 0,1-1 0,0 0 0,0 0 0,0 1 0,0-1 0,0 0 0,0 0 0,0 0 0,0 0 0,0 0 0,0 0 0,1 0 0,-1-1 0,0 1 0,1 0 0,2 0 0,37 15 0,-30-12 0,17 9 0,-1 1 0,0 1 0,27 22 0,-7-5 0,-12-8-46,-20-13-284,1-1 0,0 0 1,26 11-1,-25-15-6496</inkml:trace>
</inkml:ink>
</file>

<file path=ppt/ink/ink1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3:11.339"/>
    </inkml:context>
    <inkml:brush xml:id="br0">
      <inkml:brushProperty name="width" value="0.035" units="cm"/>
      <inkml:brushProperty name="height" value="0.035" units="cm"/>
      <inkml:brushProperty name="color" value="#E71224"/>
    </inkml:brush>
  </inkml:definitions>
  <inkml:trace contextRef="#ctx0" brushRef="#br0">1215 1 24575,'-1'0'0,"0"0"0,0 1 0,0-1 0,-1 1 0,1 0 0,0-1 0,0 1 0,0 0 0,0 0 0,0-1 0,0 1 0,1 0 0,-1 0 0,0 0 0,0 0 0,0 0 0,1 0 0,-1 1 0,1-1 0,-1 1 0,-12 28 0,12-26 0,-27 101 0,19-67 0,5-20 0,1 0 0,1-1 0,1 1 0,0 0 0,1 0 0,1 0 0,5 26 0,1-10 0,2-1 0,25 61 0,-23-71 0,-8-18 0,0 0 0,-1 0 0,1 1 0,-1-1 0,0 1 0,1 9 0,-3-13 0,0-1 0,0 0 0,0 1 0,0-1 0,0 0 0,-1 0 0,1 1 0,0-1 0,-1 0 0,1 0 0,-1 1 0,0-1 0,1 0 0,-1 0 0,0 0 0,0 0 0,0 0 0,1 0 0,-1 0 0,0 0 0,0 0 0,0 0 0,-1-1 0,1 1 0,0 0 0,0-1 0,0 1 0,-1-1 0,1 1 0,0-1 0,0 0 0,-1 1 0,1-1 0,-3 0 0,-38 8 0,-2-3 0,-58 1 0,23-3 0,50-1 0,-167 5 0,171-8 0,0-1 0,1-2 0,-1 0 0,1-2 0,-43-15 0,33 10 0,0 2 0,-1 1 0,0 1 0,-1 2 0,1 2 0,-1 1 0,1 2 0,-61 7 0,48 3 0,41-8 0,-1 0 0,1 0 0,0 0 0,-1-1 0,1-1 0,-1 1 0,1-1 0,-15-1 0,21 0 0,1 1 0,0 0 0,0 0 0,0-1 0,-1 1 0,1 0 0,0-1 0,0 1 0,0 0 0,0 0 0,0-1 0,0 1 0,0 0 0,0-1 0,-1 1 0,1 0 0,0-1 0,0 1 0,1 0 0,-1-1 0,0 1 0,0 0 0,0-1 0,0 1 0,0 0 0,0-1 0,0 1 0,0 0 0,1 0 0,-1-1 0,0 1 0,0 0 0,0 0 0,1-1 0,-1 1 0,0 0 0,0 0 0,0-1 0,1 1 0,-1 0 0,0 0 0,1 0 0,-1 0 0,1-1 0,14-13 0,-14 12 0,23-21-227,-2-1-1,-1-1 1,-1-1-1,-1-1 1,22-42-1,-34 54-6598</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3:12.823"/>
    </inkml:context>
    <inkml:brush xml:id="br0">
      <inkml:brushProperty name="width" value="0.035" units="cm"/>
      <inkml:brushProperty name="height" value="0.035" units="cm"/>
      <inkml:brushProperty name="color" value="#E71224"/>
    </inkml:brush>
  </inkml:definitions>
  <inkml:trace contextRef="#ctx0" brushRef="#br0">0 1 24575,'12'2'0,"-1"0"0,0 1 0,1 0 0,-1 1 0,20 11 0,-17-9 0,15 9-78,0 2 0,-1 1 0,-1 1 0,-1 1 0,27 27 0,-24-21-819,-11-11-5929</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4:47.500"/>
    </inkml:context>
    <inkml:brush xml:id="br0">
      <inkml:brushProperty name="width" value="0.035" units="cm"/>
      <inkml:brushProperty name="height" value="0.035" units="cm"/>
      <inkml:brushProperty name="color" value="#E71224"/>
    </inkml:brush>
  </inkml:definitions>
  <inkml:trace contextRef="#ctx0" brushRef="#br0">0 1 24575,'0'4'0,"0"6"0,5 2 0,5 3 0,6-2 0,1 3 0,-4 2 0,-3 3 0,-4 2 0,-2 2 0,-7-3 0,-7-6 0,-2-5-8191</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4:49.325"/>
    </inkml:context>
    <inkml:brush xml:id="br0">
      <inkml:brushProperty name="width" value="0.035" units="cm"/>
      <inkml:brushProperty name="height" value="0.035" units="cm"/>
      <inkml:brushProperty name="color" value="#E71224"/>
    </inkml:brush>
  </inkml:definitions>
  <inkml:trace contextRef="#ctx0" brushRef="#br0">72 1 24575,'-4'0'0,"-7"0"0,-5 0 0,-5 0 0,2 0-8191</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4:54.827"/>
    </inkml:context>
    <inkml:brush xml:id="br0">
      <inkml:brushProperty name="width" value="0.035" units="cm"/>
      <inkml:brushProperty name="height" value="0.035" units="cm"/>
      <inkml:brushProperty name="color" value="#E71224"/>
    </inkml:brush>
  </inkml:definitions>
  <inkml:trace contextRef="#ctx0" brushRef="#br0">3 41 24575,'0'161'0,"-1"-201"0,0-44 0,1 79 0,1-1 0,-1 1 0,1 0 0,0 0 0,1-1 0,-1 1 0,1 0 0,0 0 0,0 0 0,1 0 0,5-7 0,-7 11 0,0 0 0,1 0 0,-1 0 0,1 0 0,-1 0 0,1 1 0,-1-1 0,1 1 0,-1-1 0,1 1 0,-1 0 0,1-1 0,0 1 0,-1 0 0,1 0 0,0 0 0,-1 0 0,1 1 0,-1-1 0,1 0 0,0 1 0,-1-1 0,1 1 0,-1-1 0,1 1 0,-1 0 0,0 0 0,1-1 0,1 3 0,45 30 0,-42-28 0,-2-2 0,-1 1 0,0-1 0,0 1 0,0-1 0,0 1 0,-1 0 0,1 0 0,-1 0 0,0 1 0,0-1 0,-1 0 0,1 1 0,-1-1 0,0 1 0,0 0 0,0 6 0,-1-9 0,1 0 0,-1 1 0,0-1 0,-1 1 0,1-1 0,0 0 0,0 1 0,-1-1 0,0 0 0,1 0 0,-1 1 0,0-1 0,0 0 0,0 0 0,0 0 0,-1 0 0,1 0 0,0 0 0,-1 0 0,0-1 0,1 1 0,-1 0 0,0-1 0,0 1 0,0-1 0,0 0 0,0 0 0,0 0 0,0 0 0,0 0 0,0 0 0,-1 0 0,-3 0 0,-21-2 0,9 0 0,29 11 0,6-2-273,-1 2 0,0 0 0,-1 0 0,24 21 0,-24-14-6553</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28:36.678"/>
    </inkml:context>
    <inkml:brush xml:id="br0">
      <inkml:brushProperty name="width" value="0.035" units="cm"/>
      <inkml:brushProperty name="height" value="0.035" units="cm"/>
      <inkml:brushProperty name="color" value="#E71224"/>
    </inkml:brush>
  </inkml:definitions>
  <inkml:trace contextRef="#ctx0" brushRef="#br0">3135 574 24575,'-1'-6'0,"1"0"0,-1 0 0,0 0 0,-1 0 0,0 0 0,0 0 0,0 0 0,0 1 0,-1-1 0,0 1 0,0-1 0,-6-6 0,-6-7 0,-33-32 0,6 7 0,36 36 0,-1 1 0,1 0 0,-1 0 0,-1 1 0,1 0 0,-1 1 0,0-1 0,0 1 0,0 1 0,-1-1 0,-16-4 0,-89-38 0,-77-25 0,141 55 0,28 9 0,0 1 0,0 1 0,0 1 0,-30-3 0,-419-38 0,402 37 0,-88-22 0,-41-5 0,84 26 0,-228 10 0,304 4 0,0 2 0,0 1 0,1 2 0,0 2 0,1 1 0,-44 22 0,-198 120 0,110-64 0,65-36 0,95-50 0,0 0 0,1 1 0,-1 0 0,1 0 0,0 0 0,1 1 0,-1 0 0,1 1 0,1-1 0,-1 1 0,1 0 0,0 0 0,1 1 0,-1 0 0,2 0 0,-1 0 0,-3 13 0,-14 32 0,12-36 0,2 1 0,0 1 0,1-1 0,1 1 0,1 0 0,-3 38 0,-3 27 0,7-64 0,0 0 0,0 27 0,4-40 0,-1 1 0,1-1 0,0 1 0,1-1 0,0 1 0,0-1 0,0 0 0,1 0 0,0 0 0,4 6 0,1-1 0,-1-1 0,1-1 0,1 1 0,0-1 0,1-1 0,-1 0 0,2 0 0,-1-1 0,1 0 0,1-1 0,-1 0 0,1-1 0,1 0 0,-1-1 0,1 0 0,18 4 0,8-1 0,1-2 0,0-1 0,0-2 0,48-3 0,307 0 0,175-3 0,-354-7 0,110-1 0,-219 10 0,-50-2 0,0 3 0,0 3 0,0 2 0,99 21 0,-125-19 0,-1-2 0,1-1 0,0-1 0,0-2 0,0-1 0,0-1 0,34-7 0,-38 3 0,0-1 0,0-2 0,0-1 0,50-24 0,92-64 0,-137 78 0,-20 13 0,0-1 0,0 0 0,0-1 0,-1 0 0,-1-1 0,1 0 0,10-12 0,-20 18 0,1 1 0,-1-1 0,1 0 0,-1 0 0,0 1 0,0-1 0,-1 0 0,1 0 0,-1 0 0,1 0 0,-1 0 0,0 0 0,0 0 0,0 0 0,0 0 0,-1 0 0,1 0 0,-1 0 0,0 0 0,-2-4 0,-2-6 0,-1 0 0,-1 0 0,-11-15 0,-13-28 0,27 41 33,0 0 0,1 0 0,-1-28 1,-5-22-1532,5 46-5328</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7:17.391"/>
    </inkml:context>
    <inkml:brush xml:id="br0">
      <inkml:brushProperty name="width" value="0.035" units="cm"/>
      <inkml:brushProperty name="height" value="0.035" units="cm"/>
      <inkml:brushProperty name="color" value="#E71224"/>
    </inkml:brush>
  </inkml:definitions>
  <inkml:trace contextRef="#ctx0" brushRef="#br0">2633 90 24575,'-7'-4'0,"1"0"0,0 0 0,-1 1 0,0 0 0,0 1 0,0-1 0,0 1 0,0 0 0,0 1 0,-12-1 0,-10-4 0,-27-6 0,-1 3 0,-97-5 0,-117 15 0,102 2 0,-569-3 0,588-11 0,-2 0 0,-468 11 0,613 0 0,0 0 0,0 1 0,1-1 0,-1 1 0,0 1 0,0-1 0,1 1 0,-1 0 0,0 1 0,1-1 0,0 1 0,0 1 0,0-1 0,-6 6 0,7-5 0,1 0 0,0 0 0,1 1 0,-1 0 0,1 0 0,0 0 0,0 0 0,0 0 0,1 1 0,0-1 0,0 1 0,0-1 0,0 1 0,1 0 0,0 0 0,0 10 0,0 5 0,2-1 0,0 1 0,1-1 0,1 1 0,1-1 0,0 0 0,14 35 0,5-2 0,42 75 0,-60-119 0,1-1 0,1 0 0,0 1 0,0-2 0,0 1 0,1-1 0,0-1 0,0 1 0,1-1 0,0-1 0,13 7 0,15 5 0,63 20 0,-57-22 0,73 29 0,99 32 0,-169-63 0,0-1 0,0-3 0,1-2 0,77 2 0,-100-8 0,-1 1 0,28 5 0,41 4 0,-17-9 0,296-5 0,-347-1 0,0-1 0,-1-1 0,0-1 0,0-1 0,0-1 0,36-20 0,32-13 0,-59 27 0,-1-1 0,-1-2 0,-1-1 0,38-31 0,18-12 0,-64 49 0,-2 2 0,-2-1 0,0 0 0,0-1 0,-1-1 0,0-1 0,16-20 0,-28 28 0,-1 0 0,-1 0 0,1 0 0,-1 0 0,0 0 0,-1-1 0,1 1 0,-1 0 0,-1-1 0,0 1 0,-1-15 0,4-36 0,4 10-455,-3-1 0,-2-75 0,-2 105-6371</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5:00.004"/>
    </inkml:context>
    <inkml:brush xml:id="br0">
      <inkml:brushProperty name="width" value="0.035" units="cm"/>
      <inkml:brushProperty name="height" value="0.035" units="cm"/>
      <inkml:brushProperty name="color" value="#E71224"/>
    </inkml:brush>
  </inkml:definitions>
  <inkml:trace contextRef="#ctx0" brushRef="#br0">2 358 24575,'-2'-103'0,"5"-113"0,-3 214 0,0 1 0,0-1 0,0 1 0,0-1 0,0 1 0,0-1 0,0 1 0,0-1 0,1 1 0,-1-1 0,1 1 0,-1 0 0,1-1 0,-1 1 0,1 0 0,0-1 0,0 1 0,0 0 0,0 0 0,0 0 0,0-1 0,0 1 0,0 0 0,0 1 0,0-1 0,0 0 0,1 0 0,-1 0 0,3 0 0,-3 1 0,1 1 0,-1-1 0,1 1 0,-1 0 0,1-1 0,-1 1 0,1 0 0,-1 0 0,0 0 0,1 0 0,-1 1 0,0-1 0,0 0 0,0 0 0,0 1 0,0-1 0,0 1 0,0-1 0,0 0 0,-1 1 0,1 0 0,-1-1 0,1 1 0,-1-1 0,1 4 0,1 0 0,15 48 0,21 108 0,-37-152-2,2-1-1,0 1 1,0-1-1,0 1 1,8 12 0,1 3-1349,-4-6-5475</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5:01.068"/>
    </inkml:context>
    <inkml:brush xml:id="br0">
      <inkml:brushProperty name="width" value="0.035" units="cm"/>
      <inkml:brushProperty name="height" value="0.035" units="cm"/>
      <inkml:brushProperty name="color" value="#E71224"/>
    </inkml:brush>
  </inkml:definitions>
  <inkml:trace contextRef="#ctx0" brushRef="#br0">0 1 24575,'5'0'0,"5"0"0,7 0 0,-1 0-8191</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5:02.350"/>
    </inkml:context>
    <inkml:brush xml:id="br0">
      <inkml:brushProperty name="width" value="0.035" units="cm"/>
      <inkml:brushProperty name="height" value="0.035" units="cm"/>
      <inkml:brushProperty name="color" value="#E71224"/>
    </inkml:brush>
  </inkml:definitions>
  <inkml:trace contextRef="#ctx0" brushRef="#br0">0 1 24575,'0'503'0,"2"-482"0,0-1 0,1 0 0,1-1 0,0 1 0,2 0 0,0-1 0,2 0 0,0-1 0,1 0 0,13 21 0,-19-36 77,-4-6-1519</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5:03.570"/>
    </inkml:context>
    <inkml:brush xml:id="br0">
      <inkml:brushProperty name="width" value="0.035" units="cm"/>
      <inkml:brushProperty name="height" value="0.035" units="cm"/>
      <inkml:brushProperty name="color" value="#E71224"/>
    </inkml:brush>
  </inkml:definitions>
  <inkml:trace contextRef="#ctx0" brushRef="#br0">0 1 24575,'7'1'0,"1"0"0,-1 0 0,-1 1 0,1 0 0,0 1 0,0-1 0,-1 1 0,8 5 0,31 11 0,-10-13 0,0-1 0,1-1 0,-1-3 0,66-4 0,-16 1 0,-17-3-1365,-43-1-5461</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3:32.399"/>
    </inkml:context>
    <inkml:brush xml:id="br0">
      <inkml:brushProperty name="width" value="0.035" units="cm"/>
      <inkml:brushProperty name="height" value="0.035" units="cm"/>
      <inkml:brushProperty name="color" value="#E71224"/>
    </inkml:brush>
  </inkml:definitions>
  <inkml:trace contextRef="#ctx0" brushRef="#br0">3517 1382 24575,'2'-50'0,"-3"1"0,-2 0 0,-2-1 0,-2 2 0,-26-95 0,-48-84 0,68 197 0,0 0 0,-31-47 0,34 63 0,0 1 0,-1 0 0,0 0 0,-2 1 0,1 1 0,-28-20 0,-41-21 0,-2 4 0,-155-65 0,101 62 0,-158-38 0,203 64 0,40 9 0,0 3 0,-1 2 0,-1 2 0,-73-3 0,-1 6 0,-197-37 0,220 27 0,1 5 0,0 6 0,0 3 0,-159 19 0,157-2 0,0 5 0,1 5 0,2 4 0,-118 49 0,211-74 0,1 0 0,-1 0 0,1 1 0,0 0 0,0 1 0,1 0 0,0 0 0,0 1 0,0 0 0,1 0 0,0 1 0,-10 13 0,11-11 0,1 0 0,0 1 0,1-1 0,0 1 0,0 0 0,2 0 0,-1 1 0,1-1 0,1 0 0,0 1 0,0 11 0,4 74 0,0-63 0,-2 0 0,-2 0 0,-7 52 0,2-52 0,2 0 0,1 0 0,1 0 0,2 0 0,2 0 0,1 0 0,1 0 0,16 57 0,97 239 0,-101-292 0,-8-14 0,-1 0 0,7 41 0,7 27 0,-11-62 0,0-5 0,-2 1 0,-1-1 0,-1 2 0,-1-1 0,2 37 0,5 71 0,1 3 0,-14 25 0,2 77 0,12-137 0,-7-67 0,2 46 0,-7 570 0,-3-313 0,4-313 0,1-1 0,0 1 0,2-1 0,9 27 0,-6-25 0,-2 1 0,0 0 0,1 28 0,20 243 0,-22-263 0,16 64 0,-13-70 0,-2 1 0,0 0 0,1 38 0,5 47 0,-6-79 0,1 50 0,-7-68 0,0-13 0,-1-1 0,1 1 0,1 0 0,-1-1 0,1 1 0,-1-1 0,1 1 0,2 4 0,-2-7 0,0-1 0,0 1 0,1-1 0,-1 1 0,0-1 0,1 0 0,-1 1 0,1-1 0,-1 0 0,1 0 0,-1 0 0,1 0 0,0-1 0,0 1 0,-1 0 0,1-1 0,0 1 0,0-1 0,0 1 0,0-1 0,0 0 0,0 0 0,2 0 0,240 0 0,-55-3 0,-187 3 0,-1 0 0,0 0 0,0 1 0,0-1 0,0 0 0,0 0 0,0 0 0,0 0 0,0 0 0,0 0 0,0-1 0,1 1 0,-1 0 0,0 0 0,0-1 0,0 1 0,0-1 0,0 1 0,0-1 0,0 1 0,-1-1 0,1 0 0,0 1 0,0-1 0,0 0 0,-1 0 0,1 1 0,0-1 0,1-2 0,-3 1 0,1 0 0,0 1 0,0-1 0,-1 0 0,1 0 0,-1 0 0,1 1 0,-1-1 0,0 0 0,1 1 0,-1-1 0,0 1 0,0-1 0,0 1 0,-3-3 0,-7-8 0,0 0 0,-23-18 0,21 19-110,1 3-47,1-1 0,-1-1 0,2 0 1,-1 0-1,1-1 0,1-1 0,-13-19 0,15 17-6669</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3:33.666"/>
    </inkml:context>
    <inkml:brush xml:id="br0">
      <inkml:brushProperty name="width" value="0.035" units="cm"/>
      <inkml:brushProperty name="height" value="0.035" units="cm"/>
      <inkml:brushProperty name="color" value="#E71224"/>
    </inkml:brush>
  </inkml:definitions>
  <inkml:trace contextRef="#ctx0" brushRef="#br0">209 1 24575,'-4'4'0,"-2"6"0,-5 6 0,-4 5 0,0 3 0,-2-2 0,2-1 0,-5-4 0,0 0 0,0-3 0,-2 1 0,-1-3 0,3-3-8191</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4:16.543"/>
    </inkml:context>
    <inkml:brush xml:id="br0">
      <inkml:brushProperty name="width" value="0.035" units="cm"/>
      <inkml:brushProperty name="height" value="0.035" units="cm"/>
      <inkml:brushProperty name="color" value="#E71224"/>
    </inkml:brush>
  </inkml:definitions>
  <inkml:trace contextRef="#ctx0" brushRef="#br0">0 126 24575,'0'16'0,"1"1"0,1-1 0,0 1 0,1-1 0,1 0 0,0 0 0,1 0 0,1-1 0,0 1 0,1-1 0,1-1 0,1 1 0,0-1 0,18 22 0,-35-64 0,-12-19 0,11 29 0,1-1 0,1 0 0,-10-38 0,16 51 0,0-1 0,0 1 0,0 0 0,1-1 0,-1 1 0,1 0 0,1-1 0,0 1 0,0-1 0,0 1 0,0 0 0,1 0 0,0 0 0,0 0 0,1 0 0,5-9 0,-4 10 0,1 1 0,-1 0 0,1 0 0,0 0 0,0 1 0,0-1 0,0 1 0,1 0 0,-1 1 0,12-5 0,64-15 0,-66 18 0,-6 2 0,0 0 0,0 0 0,0 1 0,1 0 0,-1 1 0,1 0 0,-1 0 0,11 2 0,-17-1 0,0 0 0,-1 0 0,1 0 0,0 0 0,-1 0 0,1 0 0,-1 1 0,1 0 0,-1-1 0,0 1 0,1 0 0,-1 0 0,0 0 0,0 0 0,0 0 0,-1 1 0,1-1 0,-1 0 0,1 1 0,-1 0 0,0-1 0,0 1 0,0 0 0,0-1 0,0 1 0,0 0 0,-1 0 0,0 0 0,1 5 0,-1 9 0,0-1 0,-1 1 0,0-1 0,-2 0 0,-6 26 0,9-41 0,0 1 0,-1-1 0,1 0 0,0 0 0,0 1 0,0-1 0,0 0 0,0 0 0,0 0 0,0 1 0,1-1 0,-1 0 0,0 0 0,1 0 0,-1 1 0,1-1 0,-1 0 0,1 0 0,-1 0 0,1 0 0,0 0 0,0 0 0,-1 0 0,1 0 0,0 0 0,1 0 0,33 17 0,-30-17 0,-1 1 0,0 0 0,0 0 0,1 0 0,-1 0 0,-1 1 0,1-1 0,6 6 0,-6 0 0,1 0 0,-1 0 0,-1 0 0,1 0 0,-2 1 0,1-1 0,-1 1 0,0-1 0,-1 1 0,0 0 0,0 0 0,-1 0 0,0 0 0,-1 0 0,0-1 0,0 1 0,-5 17 0,4-23 0,0-1 0,0 1 0,0 0 0,0-1 0,0 0 0,0 1 0,-1-1 0,1 0 0,-1 0 0,0 0 0,1-1 0,-1 1 0,0-1 0,0 1 0,0-1 0,0 0 0,0 0 0,0 0 0,-1-1 0,1 1 0,0-1 0,-5 1 0,-12 0 0,0 0 0,-30-4 0,23 1 0,-42 0-1365,41 1-5461</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4:18.135"/>
    </inkml:context>
    <inkml:brush xml:id="br0">
      <inkml:brushProperty name="width" value="0.035" units="cm"/>
      <inkml:brushProperty name="height" value="0.035" units="cm"/>
      <inkml:brushProperty name="color" value="#E71224"/>
    </inkml:brush>
  </inkml:definitions>
  <inkml:trace contextRef="#ctx0" brushRef="#br0">64 1 24575,'-4'0'0,"-11"0"0,-7 0 0,0 0-8191</inkml:trace>
</inkml:ink>
</file>

<file path=ppt/ink/ink2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4:21.749"/>
    </inkml:context>
    <inkml:brush xml:id="br0">
      <inkml:brushProperty name="width" value="0.035" units="cm"/>
      <inkml:brushProperty name="height" value="0.035" units="cm"/>
      <inkml:brushProperty name="color" value="#E71224"/>
    </inkml:brush>
  </inkml:definitions>
  <inkml:trace contextRef="#ctx0" brushRef="#br0">57 1 24575,'-4'3'0,"0"0"0,0 0 0,0 1 0,0 0 0,1 0 0,0 0 0,-1 0 0,1 0 0,1 0 0,-1 1 0,1 0 0,0-1 0,0 1 0,0 0 0,0 0 0,-1 10 0,1-7 0,1-1 0,0 1 0,0 0 0,0 0 0,1 0 0,0 0 0,1 0 0,0 0 0,0 0 0,4 11 0,-3-16 0,0 0 0,0 0 0,0 0 0,1 0 0,-1-1 0,1 1 0,0-1 0,0 0 0,0 0 0,0 0 0,0 0 0,0 0 0,1 0 0,-1-1 0,0 0 0,1 0 0,0 0 0,-1 0 0,1 0 0,-1-1 0,1 1 0,7-1 0,-6 0 0,1 0 0,0 0 0,0 0 0,0 0 0,-1-1 0,1 0 0,0 0 0,-1-1 0,1 1 0,-1-1 0,1 0 0,-1-1 0,0 1 0,6-5 0,-4 0 0,0 0 0,-1-1 0,1 0 0,-2 0 0,1 0 0,-1-1 0,6-12 0,-9 16 0,1 0 0,-1 0 0,0-1 0,-1 1 0,1-1 0,-1 0 0,0 1 0,-1-1 0,1 0 0,-1 0 0,0 0 0,-1 1 0,1-1 0,-3-6 0,3 11-45,-1-1-1,0 0 1,1 0-1,-1 1 1,0-1-1,0 1 1,-1-1-1,1 1 1,0-1-1,0 1 1,-1 0-1,1-1 1,-1 1-1,1 0 1,-1 0-1,1 0 1,-1 0-1,0 0 1,1 1-1,-1-1 1,0 0-1,0 1 1,0-1-1,1 1 1,-1 0-1,0 0 0,0-1 1,0 1-1,-3 1 1,-16 1-6781</inkml:trace>
</inkml:ink>
</file>

<file path=ppt/ink/ink2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44:24.417"/>
    </inkml:context>
    <inkml:brush xml:id="br0">
      <inkml:brushProperty name="width" value="0.035" units="cm"/>
      <inkml:brushProperty name="height" value="0.035" units="cm"/>
      <inkml:brushProperty name="color" value="#E71224"/>
    </inkml:brush>
  </inkml:definitions>
  <inkml:trace contextRef="#ctx0" brushRef="#br0">139 1 24575,'-10'-1'0,"1"1"0,-1 1 0,0 0 0,0 0 0,1 1 0,-19 5 0,25-5 0,0-1 0,0 1 0,0 0 0,1 0 0,-1 0 0,0 0 0,1 0 0,-1 0 0,1 1 0,0-1 0,0 1 0,0 0 0,0 0 0,0 0 0,0-1 0,1 2 0,0-1 0,-1 0 0,1 0 0,0 0 0,1 1 0,-1-1 0,0 5 0,-2 12 0,2 0 0,0 0 0,3 37 0,-2-51 0,1 1 0,0 0 0,0-1 0,1 1 0,0-1 0,0 0 0,1 0 0,-1 1 0,1-1 0,1-1 0,-1 1 0,1 0 0,0-1 0,0 0 0,6 6 0,-8-9 0,0-1 0,1 1 0,-1-1 0,0 1 0,0-1 0,1 0 0,-1 0 0,1 0 0,-1-1 0,1 1 0,-1 0 0,1-1 0,0 0 0,-1 1 0,1-1 0,0 0 0,-1 0 0,1-1 0,5 0 0,-3-1 0,1 0 0,0 0 0,-1-1 0,1 1 0,-1-1 0,1-1 0,-1 1 0,6-6 0,7-7 0,-2-1 0,0 0 0,20-29 0,-34 43 7,0 0 0,1 0 0,-1 0 0,0 0 0,-1 0 1,1-1-1,0 1 0,-1-1 0,0 1 0,0-1 0,0 0 0,0 0 0,-1 1 0,1-1 0,-1 0 0,0-5 0,-1 7-78,0-1 1,0 0-1,0 1 0,-1-1 0,1 0 1,0 1-1,-1-1 0,0 1 1,0 0-1,1 0 0,-1-1 0,-1 1 1,1 1-1,0-1 0,0 0 1,-1 0-1,1 1 0,-1-1 0,1 1 1,-6-2-1,-13-6-6755</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38:43.266"/>
    </inkml:context>
    <inkml:brush xml:id="br0">
      <inkml:brushProperty name="width" value="0.035" units="cm"/>
      <inkml:brushProperty name="height" value="0.035" units="cm"/>
      <inkml:brushProperty name="color" value="#E71224"/>
    </inkml:brush>
  </inkml:definitions>
  <inkml:trace contextRef="#ctx0" brushRef="#br0">27 659 24575,'0'-5'0,"0"-5"0,0-6 0,0-5 0,0-12 0,0-5 0,0-1 0,0 3 0,0-8 0,0-12 0,0-3 0,0 5 0,-4 2 0,-2 6 0,0 6 0,1 6 0,2-6 0,1 5-8191</inkml:trace>
</inkml:ink>
</file>

<file path=ppt/ink/ink2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4:31.837"/>
    </inkml:context>
    <inkml:brush xml:id="br0">
      <inkml:brushProperty name="width" value="0.035" units="cm"/>
      <inkml:brushProperty name="height" value="0.035" units="cm"/>
      <inkml:brushProperty name="color" value="#E71224"/>
    </inkml:brush>
  </inkml:definitions>
  <inkml:trace contextRef="#ctx0" brushRef="#br0">6 1 24575,'-2'110'0,"5"124"0,10-163 0,-9-51 0,0 0 0,1 28 0,-6 8 0,-2 0 0,-13 64 0,15-113 0,-6 72 0,3 0 0,7 80 0,-1-26 0,-4 91 0,5 244 0,2-423 0,17 76 0,-14-83 0,-1 0 0,-1 1 0,0 46 0,-7-25 0,-2-18 0,3 1 0,1 0 0,2-1 0,2 1 0,19 76 0,-16-93 0,-2 0 0,-1 1 0,-1 0 0,0 33 0,-6 114 0,-1-60 0,1-28 0,0-46 0,1 0 0,2 0 0,8 45 0,-9-81 0,1 0 0,0 0 0,0 0 0,0-1 0,1 1 0,-1-1 0,1 1 0,0-1 0,-1 1 0,2-1 0,-1 0 0,0 0 0,1 0 0,-1 0 0,1-1 0,0 1 0,0-1 0,0 1 0,0-1 0,0 0 0,1 0 0,4 2 0,3-1 0,0 0 0,0-1 0,0 0 0,0-1 0,1 0 0,17-1 0,15 0 0,154-6 0,-186 5 0,0-1 0,0 0 0,0 0 0,0-1 0,12-5 0,-22 7 0,0 0 0,0 0 0,1 0 0,-1 0 0,0 0 0,0 0 0,0-1 0,0 1 0,-1-1 0,1 1 0,0-1 0,-1 0 0,1 1 0,-1-1 0,1 0 0,-1 0 0,0 0 0,0 0 0,0-1 0,0 1 0,0 0 0,0 0 0,-1-1 0,1 1 0,-1 0 0,1-1 0,-1 1 0,0 0 0,0-1 0,0 1 0,-1-5 0,-2-6-124,-1-1 0,0 1 0,-1 0 0,-1 0 0,0 0 0,0 1-1,-1 0 1,-1 0 0,0 1 0,-18-20 0,10 15-6702</inkml:trace>
</inkml:ink>
</file>

<file path=ppt/ink/ink2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4:34.464"/>
    </inkml:context>
    <inkml:brush xml:id="br0">
      <inkml:brushProperty name="width" value="0.035" units="cm"/>
      <inkml:brushProperty name="height" value="0.035" units="cm"/>
      <inkml:brushProperty name="color" value="#E71224"/>
    </inkml:brush>
  </inkml:definitions>
  <inkml:trace contextRef="#ctx0" brushRef="#br0">233 1 24575,'-4'0'0,"-7"0"0,-5 0 0,-1 4 0,-1 7 0,-2 5 0,2 5 0,4 3 0,1-3 0,-3 1 0,-3-1 0,-3 7 0,-2 2 0,3-4-8191</inkml:trace>
</inkml:ink>
</file>

<file path=ppt/ink/ink2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4:44.830"/>
    </inkml:context>
    <inkml:brush xml:id="br0">
      <inkml:brushProperty name="width" value="0.035" units="cm"/>
      <inkml:brushProperty name="height" value="0.035" units="cm"/>
      <inkml:brushProperty name="color" value="#E71224"/>
    </inkml:brush>
  </inkml:definitions>
  <inkml:trace contextRef="#ctx0" brushRef="#br0">0 1 24575,'2'22'0,"0"0"0,7 32 0,4 30 0,-14 85 0,3 36 0,25-73 0,-27-129 0,0-1 0,1 0 0,0 1 0,-1-1 0,1 0 0,0 0 0,0 0 0,1 1 0,-1-1 0,0 0 0,1 0 0,-1-1 0,1 1 0,-1 0 0,1 0 0,0-1 0,0 1 0,0-1 0,0 0 0,0 0 0,0 1 0,0-1 0,0 0 0,1-1 0,-1 1 0,0 0 0,1-1 0,-1 1 0,0-1 0,1 0 0,3 1 0,8-1 0,0-1 0,1 0 0,-1-1 0,19-4 0,1 0 0,81 2 0,-80 4 0,46-4 0,-79 4 0,0-1 0,0 1 0,0 0 0,0 0 0,0-1 0,0 1 0,0-1 0,0 0 0,0 0 0,0 1 0,0-1 0,-1 0 0,1-1 0,0 1 0,0 0 0,-1 0 0,1-1 0,-1 1 0,1-1 0,-1 1 0,0-1 0,0 0 0,2-2 0,-2 1 0,-1 1 0,0-1 0,1 0 0,-1 1 0,0-1 0,0 1 0,0-1 0,-1 0 0,1 1 0,-1-1 0,1 1 0,-1-1 0,0 0 0,0 1 0,-2-5 0,-4-5 0,-1 0 0,1 0 0,-2 1 0,0 0 0,-18-17 0,19 21-273,0-1 0,0 0 0,1 0 0,-12-18 0,9 6-6553</inkml:trace>
</inkml:ink>
</file>

<file path=ppt/ink/ink2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4:46.456"/>
    </inkml:context>
    <inkml:brush xml:id="br0">
      <inkml:brushProperty name="width" value="0.035" units="cm"/>
      <inkml:brushProperty name="height" value="0.035" units="cm"/>
      <inkml:brushProperty name="color" value="#E71224"/>
    </inkml:brush>
  </inkml:definitions>
  <inkml:trace contextRef="#ctx0" brushRef="#br0">89 1 24575,'-4'0'0,"-2"4"0,0 6 0,1 6 0,-3 5 0,-4-1 0,-1 0 0,2 1 0,-1-2 0,1-6-8191</inkml:trace>
</inkml:ink>
</file>

<file path=ppt/ink/ink2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4:57.913"/>
    </inkml:context>
    <inkml:brush xml:id="br0">
      <inkml:brushProperty name="width" value="0.035" units="cm"/>
      <inkml:brushProperty name="height" value="0.035" units="cm"/>
      <inkml:brushProperty name="color" value="#E71224"/>
    </inkml:brush>
  </inkml:definitions>
  <inkml:trace contextRef="#ctx0" brushRef="#br0">1220 1 24575,'-1'9'0,"-1"0"0,0 0 0,0 0 0,-1 0 0,-1 0 0,1 0 0,-8 10 0,-3 12 0,3 4 0,1 0 0,2 0 0,-7 63 0,-8 39 0,1-79 0,17-47 0,0 0 0,1 1 0,1-1 0,-5 24 0,-4 46 0,-4-1 0,-31 95 0,-96 231 0,92-272 0,-48 146 0,39-58 0,48-180 0,6-22 0,0 0 0,-1 0 0,-1-1 0,-12 22 0,-11 18 0,-35 96 0,56-131 0,-9 25 0,9-19 0,-2 0 0,-2 0 0,-31 50 0,34-62 0,0 0 0,2 1 0,0 1 0,1 0 0,0 0 0,2 0 0,1 1 0,-6 41 0,7-43 0,-1 0 0,-1 0 0,0-1 0,-11 21 0,-5 16 0,12-32 0,-2 0 0,0-1 0,-2-1 0,-24 31 0,34-46 0,2-3 0,0-1 0,-1 1 0,1-1 0,-1 0 0,1 1 0,-1-1 0,0 0 0,0 0 0,0-1 0,0 1 0,0-1 0,0 1 0,0-1 0,0 0 0,-1 0 0,1 0 0,0-1 0,-1 1 0,1-1 0,0 0 0,-1 0 0,1 0 0,-1 0 0,1-1 0,0 1 0,-1-1 0,1 0 0,0 0 0,-1 0 0,1 0 0,0-1 0,0 1 0,0-1 0,0 0 0,1 0 0,-1 0 0,0 0 0,1 0 0,-1-1 0,1 1 0,0-1 0,0 0 0,0 1 0,0-1 0,0 0 0,1 0 0,-1 0 0,1 0 0,0-1 0,0 1 0,0 0 0,0-1 0,0 1 0,1 0 0,-1-1 0,1-3 0,2-4 0,0 1 0,0 0 0,1 0 0,1 0 0,-1 0 0,2 1 0,-1-1 0,1 1 0,8-11 0,17-37 0,-19 33-1365,-1 1-5461</inkml:trace>
</inkml:ink>
</file>

<file path=ppt/ink/ink2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4:59.290"/>
    </inkml:context>
    <inkml:brush xml:id="br0">
      <inkml:brushProperty name="width" value="0.035" units="cm"/>
      <inkml:brushProperty name="height" value="0.035" units="cm"/>
      <inkml:brushProperty name="color" value="#E71224"/>
    </inkml:brush>
  </inkml:definitions>
  <inkml:trace contextRef="#ctx0" brushRef="#br0">0 1 24575,'5'4'0,"5"2"0,7 0 0,8 7 0,5 2 0,-3 3 0,-1-2 0,-1-3 0,0-5 0,-4 2 0,-1-1 0,0-2 0,-3 2 0,-5-1-8191</inkml:trace>
</inkml:ink>
</file>

<file path=ppt/ink/ink2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5:01.902"/>
    </inkml:context>
    <inkml:brush xml:id="br0">
      <inkml:brushProperty name="width" value="0.035" units="cm"/>
      <inkml:brushProperty name="height" value="0.035" units="cm"/>
      <inkml:brushProperty name="color" value="#E71224"/>
    </inkml:brush>
  </inkml:definitions>
  <inkml:trace contextRef="#ctx0" brushRef="#br0">239 1 24575,'-4'0'0,"-7"0"0,-5 0 0,-1 4 0,-1 2 0,-2 0 0,2 3 0,4 5 0,1 0 0,1 2 0,-1-2 0,2 2 0,-2-3 0,1 2 0,-2 7 0,-3-1 0,2-3-8191</inkml:trace>
</inkml:ink>
</file>

<file path=ppt/ink/ink2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5:03.011"/>
    </inkml:context>
    <inkml:brush xml:id="br0">
      <inkml:brushProperty name="width" value="0.035" units="cm"/>
      <inkml:brushProperty name="height" value="0.035" units="cm"/>
      <inkml:brushProperty name="color" value="#E71224"/>
    </inkml:brush>
  </inkml:definitions>
  <inkml:trace contextRef="#ctx0" brushRef="#br0">0 1 24575,'1'4'0,"1"1"0,-1 0 0,1-1 0,0 1 0,0-1 0,0 0 0,1 1 0,4 5 0,6 11 0,1 4 0,1-1 0,1-1 0,1 0 0,1-2 0,1 0 0,34 29 0,-20-19 0,-24-23-1365,-2-4-5461</inkml:trace>
</inkml:ink>
</file>

<file path=ppt/ink/ink2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5:08.591"/>
    </inkml:context>
    <inkml:brush xml:id="br0">
      <inkml:brushProperty name="width" value="0.035" units="cm"/>
      <inkml:brushProperty name="height" value="0.035" units="cm"/>
      <inkml:brushProperty name="color" value="#E71224"/>
    </inkml:brush>
  </inkml:definitions>
  <inkml:trace contextRef="#ctx0" brushRef="#br0">0 3756 24575,'49'0'0,"0"2"0,65 11 0,-92-8 0,0-2 0,0 0 0,0-2 0,42-2 0,-59 1 0,1-1 0,-1 1 0,0-1 0,1-1 0,-1 1 0,0-1 0,0 0 0,0 0 0,0-1 0,0 1 0,0-1 0,-1 0 0,1-1 0,-1 1 0,0-1 0,0 1 0,0-1 0,0-1 0,-1 1 0,0 0 0,0-1 0,0 0 0,0 1 0,3-10 0,1-6 0,-1-1 0,-1 0 0,-1 0 0,-1-1 0,-1 1 0,0-27 0,-17-126 0,0-8 0,14 55 0,4-135 0,1 233 0,1 0 0,16-46 0,1-9 0,-16 59 0,1 1 0,18-40 0,-17 46 0,0 1 0,-2-1 0,0 0 0,-1-1 0,-1 1 0,2-26 0,-5-68 0,-3 75 0,2-1 0,2 1 0,12-68 0,-7 74 0,-3 12 0,1 0 0,0 0 0,12-25 0,109-296 0,-90 253 0,-27 71 0,-1-2 0,-1 1 0,0-1 0,-2 0 0,0 0 0,5-37 0,-8 20 0,1 0 0,2 0 0,2 1 0,1-1 0,14-36 0,9-17 0,27-68 0,-48 132 0,-1-1 0,-1 0 0,-2-1 0,0 1 0,-2-1 0,2-29 0,-6-163 0,-3 97 0,3-74-1365,0 173-5461</inkml:trace>
</inkml:ink>
</file>

<file path=ppt/ink/ink2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5:22.444"/>
    </inkml:context>
    <inkml:brush xml:id="br0">
      <inkml:brushProperty name="width" value="0.035" units="cm"/>
      <inkml:brushProperty name="height" value="0.035" units="cm"/>
      <inkml:brushProperty name="color" value="#E71224"/>
    </inkml:brush>
  </inkml:definitions>
  <inkml:trace contextRef="#ctx0" brushRef="#br0">231 1 24575,'-10'1'0,"0"0"0,0 1 0,0 0 0,0 1 0,1 0 0,-1 1 0,1 0 0,0 0 0,0 1 0,0 0 0,1 0 0,-1 1 0,-8 8 0,8-6 0,0 0 0,0 1 0,1-1 0,0 2 0,1-1 0,0 1 0,0 0 0,1 0 0,0 1 0,-7 20 0,12-29 0,1 1 0,-1-1 0,1 1 0,0-1 0,0 1 0,0 0 0,0-1 0,0 1 0,1-1 0,-1 1 0,1-1 0,0 0 0,-1 1 0,1-1 0,0 1 0,0-1 0,1 0 0,-1 0 0,0 0 0,3 3 0,44 40 0,-40-39 0,-1 1 0,1 0 0,-1 0 0,6 8 0,28 56-1365,-28-48-5461</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33.446"/>
    </inkml:context>
    <inkml:brush xml:id="br0">
      <inkml:brushProperty name="width" value="0.035" units="cm"/>
      <inkml:brushProperty name="height" value="0.035" units="cm"/>
      <inkml:brushProperty name="color" value="#E71224"/>
    </inkml:brush>
  </inkml:definitions>
  <inkml:trace contextRef="#ctx0" brushRef="#br0">333 26 24575,'-66'-20'0,"28"16"0,0 3 0,-64 4 0,99-3 0,-1 1 0,1 0 0,0 0 0,0 0 0,0 0 0,-1 0 0,1 0 0,0 1 0,1 0 0,-1-1 0,0 1 0,0 0 0,1 0 0,-1 1 0,1-1 0,0 1 0,-3 3 0,1 0 0,0 0 0,0 0 0,1 1 0,0-1 0,0 1 0,1 0 0,-3 13 0,2-7 0,1 0 0,1 0 0,0 1 0,1-1 0,0 1 0,1-1 0,1 0 0,4 20 0,-2-22 0,0 0 0,1-1 0,0 1 0,0-1 0,2 1 0,-1-2 0,1 1 0,0-1 0,1 0 0,0-1 0,1 1 0,10 7 0,-14-12 0,0-1 0,0 1 0,1-1 0,0 0 0,-1 0 0,1 0 0,0-1 0,0 0 0,0 0 0,1-1 0,-1 0 0,0 0 0,1 0 0,-1-1 0,0 1 0,1-2 0,-1 1 0,1-1 0,-1 0 0,0 0 0,0-1 0,1 1 0,9-6 0,-12 5 0,-1-1 0,1 0 0,-1 0 0,0-1 0,1 1 0,-1-1 0,-1 1 0,1-1 0,-1 0 0,1 0 0,-1 0 0,0-1 0,0 1 0,1-6 0,19-69 0,-20 70 0,2-11-341,-1-1 0,-2 0-1,0-27 1,-1 29-6485</inkml:trace>
</inkml:ink>
</file>

<file path=ppt/ink/ink2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5:23.931"/>
    </inkml:context>
    <inkml:brush xml:id="br0">
      <inkml:brushProperty name="width" value="0.035" units="cm"/>
      <inkml:brushProperty name="height" value="0.035" units="cm"/>
      <inkml:brushProperty name="color" value="#E71224"/>
    </inkml:brush>
  </inkml:definitions>
  <inkml:trace contextRef="#ctx0" brushRef="#br0">0 1 24575,'5'0'0,"14"0"0,14 0 0,10 0 0,6 0 0,5 0 0,-3 0 0,-2 0 0,-3 0 0,-6 0 0,-5 0 0,-4 0 0,-3 0 0,-1 0 0,-2 0 0,1 0 0,-1 0 0,-4 0-8191</inkml:trace>
</inkml:ink>
</file>

<file path=ppt/ink/ink2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5:13.671"/>
    </inkml:context>
    <inkml:brush xml:id="br0">
      <inkml:brushProperty name="width" value="0.035" units="cm"/>
      <inkml:brushProperty name="height" value="0.035" units="cm"/>
      <inkml:brushProperty name="color" value="#E71224"/>
    </inkml:brush>
  </inkml:definitions>
  <inkml:trace contextRef="#ctx0" brushRef="#br0">264 181 24575,'-45'-1'0,"28"-1"0,0 2 0,-1 0 0,1 1 0,0 0 0,0 1 0,0 1 0,0 1 0,0 1 0,-20 7 0,37-11 0,-1-1 0,1 1 0,-1-1 0,0 1 0,1-1 0,-1 1 0,0-1 0,1 0 0,-1 1 0,0-1 0,0 0 0,1 0 0,-1 1 0,0-1 0,0 0 0,1 0 0,-1 0 0,0 0 0,0 0 0,0 0 0,1 0 0,-1 0 0,0-1 0,0 1 0,1 0 0,-1 0 0,0-1 0,0 1 0,1 0 0,-1-1 0,0 1 0,1-1 0,-1 1 0,-1-2 0,2 1 0,-1-1 0,1 0 0,0 0 0,0 0 0,0 0 0,0 0 0,0 0 0,0 0 0,0 0 0,0 0 0,1 0 0,-1 0 0,2-2 0,2-8 0,0 0 0,2 0 0,8-16 0,-5 17 33,0 0 0,0 1 0,17-14 0,20-22-1530,-39 36-5329</inkml:trace>
</inkml:ink>
</file>

<file path=ppt/ink/ink2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5:15.407"/>
    </inkml:context>
    <inkml:brush xml:id="br0">
      <inkml:brushProperty name="width" value="0.035" units="cm"/>
      <inkml:brushProperty name="height" value="0.035" units="cm"/>
      <inkml:brushProperty name="color" value="#E71224"/>
    </inkml:brush>
  </inkml:definitions>
  <inkml:trace contextRef="#ctx0" brushRef="#br0">0 1 24575,'0'4'0,"0"7"0,5 0 0,5 0 0,2 1 0,3 4 0,3-1 0,-1 1 0,1 3 0,2-3 0,-3 2 0,1-4 0,1-3 0,-2-3-8191</inkml:trace>
</inkml:ink>
</file>

<file path=ppt/ink/ink2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5:28.011"/>
    </inkml:context>
    <inkml:brush xml:id="br0">
      <inkml:brushProperty name="width" value="0.035" units="cm"/>
      <inkml:brushProperty name="height" value="0.035" units="cm"/>
      <inkml:brushProperty name="color" value="#E71224"/>
    </inkml:brush>
  </inkml:definitions>
  <inkml:trace contextRef="#ctx0" brushRef="#br0">1109 235 24575,'-19'-1'0,"0"-1"0,-38-9 0,37 6 0,-1 1 0,-28-1 0,-65-8 0,78 7 0,-55-1 0,67 7 0,-23 1 0,0-2 0,-1-3 0,1-1 0,-81-19 0,64 3 0,27 9 0,-1 0 0,1 3 0,-2 1 0,-38-3 0,39 5 0,27-3 0,11 8 0,0 0 0,0 1 0,0-1 0,0 0 0,1 0 0,-1 0 0,0 1 0,1-1 0,-1 0 0,0 0 0,1 1 0,-1-1 0,1 0 0,-1 1 0,1-1 0,0 1 0,-1-1 0,1 0 0,0 1 0,-1-1 0,1 1 0,1-1 0,8-5-24,1 1-1,1 0 1,-1 1 0,1 1-1,-1-1 1,1 2-1,22-3 1,-6 0-1146,-3 0-5656</inkml:trace>
</inkml:ink>
</file>

<file path=ppt/ink/ink2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5:29.201"/>
    </inkml:context>
    <inkml:brush xml:id="br0">
      <inkml:brushProperty name="width" value="0.035" units="cm"/>
      <inkml:brushProperty name="height" value="0.035" units="cm"/>
      <inkml:brushProperty name="color" value="#E71224"/>
    </inkml:brush>
  </inkml:definitions>
  <inkml:trace contextRef="#ctx0" brushRef="#br0">0 1 24575,'5'0'0,"5"4"0,7 7 0,4 5 0,3 0 0,-3 2 0,1-2 0,-5 0 0,0 3 0,-3 2 0,1-3 0,-3 1 0,-3 1 0,-3-7 0,-3-6-8191</inkml:trace>
</inkml:ink>
</file>

<file path=ppt/ink/ink2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5:30.467"/>
    </inkml:context>
    <inkml:brush xml:id="br0">
      <inkml:brushProperty name="width" value="0.035" units="cm"/>
      <inkml:brushProperty name="height" value="0.035" units="cm"/>
      <inkml:brushProperty name="color" value="#E71224"/>
    </inkml:brush>
  </inkml:definitions>
  <inkml:trace contextRef="#ctx0" brushRef="#br0">0 75 24575,'5'0'0,"5"0"0,7 0 0,-1-5 0,2-1 0,3 1 0,-3-4 0,0-1 0,2-2 0,2 0 0,1 3 0,-2 2-8191</inkml:trace>
</inkml:ink>
</file>

<file path=ppt/ink/ink2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6:50.378"/>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1696 88,'-32'0,"0"-1,-1-2,-44-10,-89-15,135 22,-35-3,-28-4,50 7,0 1,0 2,-78 5,31 0,-34-4,-132 5,227 2,0 1,1 2,0 0,-41 19,39-14,-142 48,170-60,0 0,1 1,-1-1,1 0,-1 1,1 0,-1 0,1-1,0 1,0 1,0-1,0 0,0 0,1 1,-1-1,1 1,0-1,-1 1,1 0,0-1,0 1,1 0,-1 0,1 0,-1 0,1 0,0 0,0 0,0-1,0 1,1 0,-1 0,1 0,1 3,3 10,0 0,2 0,0-1,14 24,-17-32,1 0,-1-1,1 1,0-1,0 0,0-1,1 1,0-1,0 0,1-1,-1 0,1 0,0 0,0 0,0-1,1-1,-1 1,1-1,-1 0,15 1,24 6,-21-3,1-1,41 2,374-7,-198-1,-222-1,-1 0,37-8,-35 5,0 1,26-1,-26 4,202 3,-111 22,-110-24,1 0,0 1,1-1,-1 1,0 0,0 0,1 0,-1 0,0 1,0 0,0 0,0 0,4 3,4 7</inkml:trace>
</inkml:ink>
</file>

<file path=ppt/ink/ink2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6:58.294"/>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379 553,'55'-2,"54"-10,-56 5,60 0,614 8,-692 1,59 10,-58-6,55 2,521-9,-440 15,-23 0,291-12,-225-4,-209 3,0-1,0-1,-1 1,1-1,0 0,7-3,-12 4,0-1,0 1,1-1,-1 1,0-1,0 0,0 0,0 0,0 0,0 0,0 0,0 0,0 0,0 0,0 0,-1 0,1-1,-1 1,1 0,-1 0,1-1,-1 1,1 0,-1-1,0 1,0 0,0-1,0 1,0-1,0 1,0 0,-1-3,-3-15,0 1,-13-30,-3-16,12 33,-14-74,13 52,-31-91,39 141,0 0,-1 0,1 0,-1 0,0 0,0 1,0-1,0 0,0 1,-1 0,1-1,-1 1,1 0,-1 0,0 0,0 1,0-1,0 1,0 0,0 0,-1 0,1 0,0 0,-5 0,-10-1,1 1,-1 1,-28 2,16 0,-816 3,461-8,-216 3,570 2,1 1,-37 9,4-1,-64 14,94-16,0-2,-1-1,1-1,-1-2,-54-3,83-1,0 0,-1-1,1 1,0-1,-1-1,1 1,1-1,-1 0,-6-5,6 5,-1-1,1 1,-1 0,0 0,0 0,0 1,-11-3,0 3,-1 2,1 0,-1 1,1 0,-31 8,-23 2,-82 8,51-4,99-15,0 0,1 0,-1 1,1 0,-1-1,1 1,-1 0,1 0,-1 0,1 1,0-1,0 0,-1 1,-1 1,3-1,0-1,0 0,0 1,0-1,1 1,-1-1,0 1,1 0,-1-1,1 1,-1 0,1-1,0 1,0 0,0-1,0 4,1 5,2 0,-1 0,1-1,0 1,1-1,6 10,8 26,-13-11,-1 0,-2 0,-1 0,-4 44,0 4,3-59</inkml:trace>
</inkml:ink>
</file>

<file path=ppt/ink/ink2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7:00.703"/>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1227 84,'-13'-1,"0"-1,1 0,-25-7,-22-3,-25 6,38 4,-48-9,49 5,0 2,-86 4,-30-2,77-10,55 6,-49-3,-194 10,248-1</inkml:trace>
</inkml:ink>
</file>

<file path=ppt/ink/ink2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7:05.147"/>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1385 686,'-43'0,"0"-3,-60-10,36 5,1 2,-122 7,69 1,-454-2,541 2,26-1,0-1,0 0,0 0,-1 0,1 0,-10-3,13 2,1 0,-1 0,1-1,0 1,-1-1,1 1,0-1,0 0,0 0,0 0,0 0,0 0,1 0,-1 0,1-1,0 1,-1-1,1 1,-1-4,-2-5,1-1,1 1,-1-1,2 0,-1-23,1 19,0 0,-6-25,-25-118,31 155,0-1,1 1,-1-1,1 1,0-1,1 1,-1-1,1 1,-1-1,1 1,1 0,-1-1,1 1,-1 0,1 0,1 0,-1 0,0 0,1 1,0-1,0 1,5-5,7-5,0 0,2 1,33-19,0 0,-26 13,1 2,29-15,-43 26,0 1,0 0,1 0,-1 1,1 1,-1 0,1 0,15 1,958 4,-966-2,1 1,36 8,-43-7,10 2</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35.213"/>
    </inkml:context>
    <inkml:brush xml:id="br0">
      <inkml:brushProperty name="width" value="0.035" units="cm"/>
      <inkml:brushProperty name="height" value="0.035" units="cm"/>
      <inkml:brushProperty name="color" value="#E71224"/>
    </inkml:brush>
  </inkml:definitions>
  <inkml:trace contextRef="#ctx0" brushRef="#br0">1 18 24575,'117'1'0,"130"-3"0,-169-10-1365,-57 8-5461</inkml:trace>
</inkml:ink>
</file>

<file path=ppt/ink/ink2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7:30.652"/>
    </inkml:context>
    <inkml:brush xml:id="br0">
      <inkml:brushProperty name="width" value="0.3" units="cm"/>
      <inkml:brushProperty name="height" value="0.6" units="cm"/>
      <inkml:brushProperty name="color" value="#FF8517"/>
      <inkml:brushProperty name="tip" value="rectangle"/>
      <inkml:brushProperty name="rasterOp" value="maskPen"/>
      <inkml:brushProperty name="ignorePressure" value="1"/>
    </inkml:brush>
  </inkml:definitions>
  <inkml:trace contextRef="#ctx0" brushRef="#br0">2304 712,'-1'-2,"0"0,0 1,1-1,-1 0,0 1,-1-1,1 1,0-1,0 1,-1-1,1 1,-1 0,1 0,-1 0,1 0,-1 0,-3-1,-31-15,-7 2,-127-36,75 22,29 7,30 11,21 6,0 1,0 0,-18-2,-41-8,52 9,-44-4,40 6,-38-8,40 6,-1 1,-26-1,-102 5,201 2,84 13,-103-10,1-1,-1-2,1 0,-1-2,1-2,-1 0,52-13,16-8,181-19,279-12,-446 40,-74 7,0 3,1 1,58 2,-71 9,-22-2,-14 2,-16 2,-1-2,0-1,-39 5,-11 2,47-9,0-2,0 0,-49-4,49 0,-1 1,0 1,-44 9,14-1,-1-2,1-3,-94-6,46 0,-668 2,750 2,0 1,-41 9,5 0,-239 54,169-33,-95 31,50-13,128-35,34-10,0-1,-32 6,49-11,0 0,-1 0,1 0,0 0,-1 1,1-1,0 0,0 0,-1 0,1 0,0 0,-1 0,1 0,0 0,-1 0,1 0,0 0,-1 0,1 0,0 0,-1 0,1 0,0 0,-1 0,1 0,0-1,-1 1,1 0,0 0,0 0,-1-1,1 1,0 0,0 0,-1 0,1-1,0 1,0 0,0-1,0 1,-1 0,1 0,0-1,0 1,12-14,24-9,4 5,42-11,-46 17,-1-1,35-18,-32 12,-22 11,0 0,-1 0,17-13,-28 18,0 0,-1-1,1 0,-1 1,1-1,-1 0,0 0,-1-1,1 1,-1-1,0 1,0-1,0 0,0 0,0-6,2-25,-2-1,-1 1,-5-40,1-13,2 66,1 14,-1-1,1 0,1 1,0-1,3-13,-3 20,0 1,0 0,0-1,0 1,0 0,1-1,-1 1,1 0,-1 0,1 0,0 1,0-1,0 0,0 1,0-1,0 1,0-1,0 1,1 0,-1 0,0 0,1 0,-1 1,1-1,3 0,24-2,1 1,-1 1,44 5,8 0,547-4,-602-1,0-2,32-7,-30 5,47-3,-55 7,176 3,-181 1,1 1,-1 0,0 1,0 1,28 15,22 7,-49-22,0 0,-1 1,1 1,22 16,-34-21,0 1,-1-1,1 1,-1 1,0-1,-1 0,1 1,-1 0,0 0,0 0,0 0,-1 0,1 1,-1-1,-1 1,1-1,1 12,-1 4</inkml:trace>
</inkml:ink>
</file>

<file path=ppt/ink/ink2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7:53.414"/>
    </inkml:context>
    <inkml:brush xml:id="br0">
      <inkml:brushProperty name="width" value="0.3" units="cm"/>
      <inkml:brushProperty name="height" value="0.6" units="cm"/>
      <inkml:brushProperty name="color" value="#FF8517"/>
      <inkml:brushProperty name="tip" value="rectangle"/>
      <inkml:brushProperty name="rasterOp" value="maskPen"/>
      <inkml:brushProperty name="ignorePressure" value="1"/>
    </inkml:brush>
  </inkml:definitions>
  <inkml:trace contextRef="#ctx0" brushRef="#br0">105 2,'79'-1,"88"3,-81 11,-58-7,50 3,-33-7,74 12,-73-7,-30-6,0 2,-1 0,0 0,0 1,27 12,-35-13,7 5,0 0,1-1,0-1,0 0,0-1,1-1,0-1,19 3,131-5,-109-3,0 2,-1 3,106 20,135 39,-289-60,-1 0,1 0,-1 1,0 1,0-1,0 1,0 0,-1 0,0 1,1 0,-2 0,1 1,0-1,-1 1,0 0,-1 1,8 12,-5-9,0 1,1-1,1 0,0-1,0 0,1-1,0 0,0 0,1-1,0 0,20 9,27 9,-31-14,0 2,0 0,34 25,-32-8,-6-4,-13-16,0 0,-1 0,0 1,7 12,-13-19,0 0,0 0,-1 1,0-1,0 1,0-1,0 1,-1 0,0 0,0 0,0 0,-1 0,1 0,-1 6,-1-8,0 0,-1 0,1 0,0 0,-1 0,0-1,0 1,0 0,0-1,0 0,0 1,0-1,-1 0,1 0,-1 0,0-1,1 1,-1 0,0-1,-5 2,-2 1,0-1,-1 0,1-1,0 0,-11 1,-80 9,57-5,-59 1,-416-9,497-1,0 0,0-2,1-1,-1-1,-37-15,25 9,-35-8,-71-16,98 27,20 3,-1 1,-1 1,-26 0,-69 5,-64-2,99-13,56 9,-51-4,48 7,-7 1,-44 3,71-1,1 0,-1 1,1 0,0 1,0 0,0 1,0 0,1 0,-11 7,17-9,0 1,0-1,0 1,0 0,1 0,-1 0,1 0,0 0,0 1,0-1,0 1,0-1,1 1,0 0,-2 7,0 4,1 1,0 29,2-31,0 1,-5 24,-1-2,1 0,2 0,3 72,-2 37,-11-82,8-46,1-1,-3 33,7-45,0-1,0 0,0 1,1-1,-1 1,1-1,0 0,0 0,1 1,-1-1,1 0,0 0,0 0,1-1,-1 1,4 4,-2-5,-1 0,1 0,0 0,0-1,0 1,1-1,-1 0,0-1,1 1,7 1,55 9,-46-9,174 21,-32 4,-103-21,0-2,118-5,-66-3,-105 3,-4 1,1-1,-1 0,1 0,-1 0,1 0,-1-1,0 1,1-1,-1 0,0 0,1 0,-1-1,6-2,-9 3,0 1,0 0,0-1,0 1,0 0,0-1,0 1,0 0,0-1,0 1,0 0,0-1,0 1,0 0,0-1,-1 1,1 0,0-1,0 1,0 0,0 0,-1-1,1 1,0 0,0 0,-1-1,1 1,0 0,0 0,-1 0,1-1,0 1,-1 0,1 0,0 0,-1 0,1 0,0 0,-1 0,1 0,0 0,-1 0,1 0,0 0,-1 0,1 0,-1 0,-18-4,-20 1,-57 3,-21-1,106 0,1-1,-1-1,1 0,0 0,0-1,0-1,1 1,-14-10,-69-54,81 60,-100-78,110 85,0 0,-1 0,1 1,0-1,0 0,0 0,0 0,0 0,0 0,0-1,0 1,1 0,-1 0,0-1,1 1,-1 0,1-1,-1 0,1 1,0 0,0 0,1 0,-1 1,0-1,0 0,1 0,-1 1,1-1,-1 0,0 1,1-1,-1 0,1 1,0-1,-1 1,1-1,-1 1,1-1,0 1,-1-1,1 1,1-1,7-2,0-1,0 1,0 1,13-2,-9 1,41-6,-1 3,1 2,0 3,78 7,-28 7,28 1,-102-11,48 9,-47-7,48 4,-17-10,-41 0,1 1,-1 1,1 0,37 9,-34-5,0-1,-1-1,1-1,0-1,1-1,-1-1,-1-2,38-8,191-18,-115 1,-106 23,1 1,0 1,0 2,36 3,-10-1,-56-1,-1 0,1 0,0 0,-1 1,1-1,-1 0,1 1,-1 0,1 0,-1-1,1 1,-1 1,0-1,1 0,-1 1,3 2,-4-3,0 1,-1-1,1 0,0 1,-1-1,0 1,1-1,-1 1,0-1,0 1,0-1,0 1,0-1,0 1,0-1,-1 1,1-1,0 1,-1-1,1 1,-1-1,0 0,1 1,-1-1,0 0,0 0,0 1,0-1,-2 2,-109 183,71-113,38-68,-15 25,1 1,1 0,2 1,1 1,-10 36,13-27,5-23,1 0,-4 37,5-24,-2-1,-1 0,-11 33,-6 26,0 6,-5 31,20-57,-5 28,-15 38,1 28,-83 234,89-346,-29 52,-16 40,41-81,-63 116,72-156,-1-1,0-1,-2-1,-30 27,18-17,21-22,1-1,-1 0,-1 0,1-1,-1 0,-1-1,1 0,-18 5,2-3,0-1,-48 5,-221-7,157-6,33 0,-115 4,155 12,50-10,-1 0,-22 1,-25-1,18-3,-62 11,21-3,38-5,47-4,0 0,0 0,0 0,0 1,0-1,0 0,0 1,0 0,0-1,0 1,1 0,-1 0,0 0,0 0,1 1,-1-1,1 0,-1 1,1-1,-1 1,1-1,0 1,0 0,0-1,0 1,0 0,0 0,0 0,1 0,-1 0,1 0,-1 4,1 4,0 0,1 0,0 0,0 0,6 16,1 16,-5-13,2 0,0 0,2 0,14 38,-17-55,-1-1,-1 1,2 12,-3-12,1 0,0-1,8 23,-9-31,1 0,-1-1,1 1,-1-1,1 1,0-1,0 1,0-1,0 0,0 0,0 0,1 0,-1 0,1 0,-1-1,1 1,0-1,0 0,5 2,15 1,0-1,0-1,1-1,-1-1,32-4,17 0,-42 5,0 2,35 7,-33-5,56 4,268-10,-329-1,1 0,30-8,-28 4,46-2,0 8,-45 1,1-1,0-2,43-7,99-25,-22 12,-126 18,41-2,-43 4,47-8,-68 9,0 1,0-1,0 0,0-1,0 1,-1 0,1-1,0 0,-1 1,1-1,-1 0,1-1,-1 1,0 0,0-1,0 1,0-1,0 1,-1-1,1 0,-1 0,0 0,1 0,0-4,0-6,0-1,-1 1,0 0,-2-24,0 22,1 0,3-22,17-61,-11 59,-1 0,-2 0,1-48,-7 74,1 2,-1 0,-1 0,1 0,-2 0,-4-17,6 27,0-1,-1 1,1 0,-1-1,0 1,0 0,1 0,-1 0,0 0,0 0,0 0,0 0,0 0,0 0,0 0,0 0,-1 1,1-1,0 0,-2 0,0 1,1 0,0 0,-1 0,1 0,-1 0,1 0,0 1,-1-1,1 1,0 0,0 0,0 0,-1 0,1 0,0 0,-2 3,-24 15,-46 42,-2 3,-57 17,62-40,59-33,1-1,-1-1,-1 0,1 0,-1-1,-16 4,29-10,0 1,0 0,1 0,-1 0,0-1,0 1,0 0,0 0,1 0,-1-1,0 1,0 0,0 0,0-1,0 1,0 0,0-1,0 1,0 0,0 0,0-1,0 1,0 0,0 0,0-1,0 1,0 0,0 0,0-1,0 1,0 0,0 0,0-1,-1 1,1 0,0 0,0-1,0 1,0 0,-1 0,1 0,0-1,0 1,-1 0,1 0,0 0,0 0,-1 0,1 0,0-1,0 1,-1 0,1 0,0 0,0 0,-1 0,1 0,0 0,0 0,-1 0,1 0,0 0,-1 1,18-17,45-32,-2-3,92-102,-151 151,9-6,0-1,1 1,0 1,1 0,-1 0,1 2,1-1,22-6,-20 7,0-1,-1 0,1-1,-1 0,21-16,-30 18,0 0,0 0,0 0,-1-1,0 0,0 0,0 0,4-11,18-59,-9 24,22-71,-33 104,-1 0</inkml:trace>
</inkml:ink>
</file>

<file path=ppt/ink/ink2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8:22.385"/>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1351 164,'0'-1,"0"-1,-1 1,0 0,1 0,-1 0,1 0,-1 0,0 0,0 0,0 0,0 0,0 0,0 0,0 0,0 0,0 1,0-1,0 1,0-1,0 1,-1-1,1 1,0-1,0 1,-1 0,1 0,-2 0,-42-6,40 6,-2 0,-31-2,-68-13,74 10,0 1,0 2,-46 2,45 1,1-1,0-2,-42-7,38 3,1 2,-51 0,-3 0,23-9,49 9,0 0,-20-1,34 5,-35-3,-68-12,-74-12,131 19,31 6</inkml:trace>
</inkml:ink>
</file>

<file path=ppt/ink/ink2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8:30.062"/>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1307 878,'-41'0,"-1"3,-65 11,44-6,-1-2,0-3,-66-6,12 0,87 1,0-1,-41-10,15 3,-2-2,37 7,0 0,-39-1,25 3,-67-14,79 12,19 4,0-1,0 0,0 0,1 0,-1 0,1-1,0 0,-1 0,1 0,1-1,-1 1,0-1,1 0,0 0,0 0,0 0,0-1,1 1,-1-1,-2-8,-1-3,1-1,0 0,1 1,-3-36,4-243,6 154,-4 129,2 0,-1 0,2 0,0 0,0 0,5-15,-5 24,-1-1,1 0,0 0,0 1,0-1,1 1,-1 0,1 0,0 0,0 0,0 0,0 0,0 1,1-1,-1 1,1 0,-1 0,1 1,0-1,0 1,0-1,5 0,22-2,1 1,0 2,61 4,-10 1,-37-4,-23 2,1-2,-1-1,1 0,44-10,-42 4,0 2,1 1,38-1,84 7,-49 0,-4-3,107 3,-200-2,-1 1,1-1,0 1,-1-1,1 1,-1 0,1 0,-1 0,0 0,1 1,-1-1,0 0,0 1,0 0,0-1,0 1,0 0,0 0,-1 0,1 1,-1-1,1 0,-1 0,0 1,0-1,0 1,0-1,0 1,-1-1,1 1,-1 0,0-1,1 1,-2 3,1-1,0 0,0 0,-1 0,0 0,0 0,0 0,-1-1,1 1,-1 0,0-1,-1 1,1-1,-1 0,1 0,-2 0,1 0,-7 6,-40 25,-106 55,30-19,87-51,0-2,-1-1,0-2,-2-2,1-1,-61 7,86-15,1 1,-1 0,1 0,0 2,0 0,1 1,0 0,0 1,1 1,-13 11,-14 17,-58 69,58-60,35-40,0 1,1 0,0 0,0 0,1 0,0 0,1 1,-1-1,2 1,-1-1,1 1,0 0,1 11,-6 37,0-23,1 0,2 0,1 1,4 47,-2-79,0 0,1 0,0-1,0 1,0 0,0-1,0 1,0-1,0 1,1-1,0 0,-1 1,1-1,0 0,0 0,0 0,0 0,0-1,1 1,-1-1,0 1,1-1,-1 0,1 0,-1 0,1 0,0 0,0 0,-1-1,4 1,11 1,-1-1,1-1,0 0,17-3,-4 1,41 2,-45 1,0-1,-1-1,1-2,37-7,-21 2,0 1,0 3,1 1,82 6,-26 0,-62-1,66 12,-25-2,-67-11,0 1,0 0,-1 1,17 6,-27-9,0 0,0 0,1 0,-1 0,0 0,0 0,0 0,0 0,0 0,0 0,0 0,0 0,0 1,0-1,0 0,1 0,-1 0,0 0,0 0,0 0,0 0,0 0,0 0,0 0,0 1,0-1,0 0,0 0,0 0,0 0,0 0,0 0,0 0,0 1,0-1,0 0,0 0,0 0,0 0,0 0,0 0,0 0,0 0,-1 0,1 1,0-1,0 0,0 0,0 0,0 0,0 0,0 0,0 0,0 0,0 0,0 0,-1 0,1 0,0 0,0 0,0 0,0 0,0 0,-13 6,-21 5,30-10,-95 25,-87 29,132-38,-59 11,42-12,-10-4,9-2,-8 4,38-7,-58 17,-44 18,-47 13,145-47,25-6</inkml:trace>
</inkml:ink>
</file>

<file path=ppt/ink/ink2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8:34.612"/>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1647 237,'-70'1,"-79"-2,82-12,50 8,-1 2,-19-2,1 3,1-2,-40-8,-30-6,30 7,-144-31,45 11,8 3,40 9,17 3,46 8,45 7,0-1,-34-9,34 5</inkml:trace>
</inkml:ink>
</file>

<file path=ppt/ink/ink2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8:37.257"/>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970 0,'2'106,"-5"118,0-201,0 0,-2 0,0-1,-16 41,17-52,-1 0,-1 0,0-1,0 1,-1-1,0-1,-1 1,0-1,0 0,-1-1,-10 8,6-9,0-1,0 0,-1 0,0-1,0-1,0-1,-1 0,-18 2,-38 9,33-7,0-1,-1-2,1-2,-68-4,25 0,55 0,0-1,0-1,0-2,-34-11,-21-5,59 16,4-1</inkml:trace>
</inkml:ink>
</file>

<file path=ppt/ink/ink2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8:39.868"/>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1691 3,'-48'-1,"25"0,0 1,0 1,0 0,-45 10,-63 24,-314 44,294-58,-382 48,333-39,177-28</inkml:trace>
</inkml:ink>
</file>

<file path=ppt/ink/ink2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5T02:09:12.175"/>
    </inkml:context>
    <inkml:brush xml:id="br0">
      <inkml:brushProperty name="width" value="0.3" units="cm"/>
      <inkml:brushProperty name="height" value="0.6" units="cm"/>
      <inkml:brushProperty name="color" value="#00FDFF"/>
      <inkml:brushProperty name="tip" value="rectangle"/>
      <inkml:brushProperty name="rasterOp" value="maskPen"/>
      <inkml:brushProperty name="ignorePressure" value="1"/>
    </inkml:brush>
  </inkml:definitions>
  <inkml:trace contextRef="#ctx0" brushRef="#br0">9701 2081,'-1'28,"-1"0,-2 0,0-1,-11 32,-41 107,39-120,-84 217,89-231,8-19,0-1,-1-1,-13 23,16-31,0 0,-1 1,0-1,0 0,0 0,0-1,0 1,-1 0,1-1,-1 0,1 0,-1 0,0 0,0-1,0 0,-5 2,-18 1,1-2,-1 0,0-2,-36-3,27 0,-55 4,25 12,50-8,-1-2,-22 3,-310-3,180-5,134 1,1-1,-61-12,-80-15,40 2,64 13,-91-7,37 9,-130-6,221 16,-60-10,59 7,-54-3,63 8,0-2,0 0,-43-10,34 5,-47-3,-8-2,-32-1,-2 0,89 8,1 2,-45 2,-19-2,32-9,48 7,1 2,-19-2,-100-12,55 5,-31-13,61 13,1-3,-75-32,-86-34,105 43,43 17,35 13,1-2,-37-18,57 24,0-1,1 0,-1 0,1-1,0 0,0 0,1 0,0-1,-8-13,-2-7,-16-40,-2-3,-91-126,50 87,-10-4,4 7,-36-96,96 164,1 3,-2-6,-49-69,47 79,-2-3,-49-51,60 70,1-1,1 0,1-1,0 0,-12-27,10 19,-28-42,-40-48,15 27,-29-35,82 108,-1 1,-1 0,0 1,-1 1,-30-18,-28-9,-55-32,101 56,0 1,-1 1,-1 1,0 2,-60-13,-60-19,44 11,85 27,-1 0,0 2,-23 0,20 1,-47-7,2-2,0 3,-1 4,-85 5,31 0,88-2,1-3,-55-10,31 5,0 3,0 2,-61 6,12-1,-383-2,465 2,1 0,-33 8,30-4,-49 2,-63 5,4 0,-75 5,116-8,-3 3,50-6,-65 2,93-7,-1 0,1 1,-23 8,16-5,3 4,24-9,1-1,0 0,-1 1,1-1,0 0,0 1,-1-1,1 1,0-1,0 0,0 1,-1-1,1 1,0-1,0 1,0-1,0 1,0-1,0 1,0-1,0 1,0-1,0 0,0 1,0-1,1 1,-1-1,0 1,0-1,0 1,0-1,1 0,-1 1,0-1,1 0,-1 1,0-1,1 0,-1 1,0-1,1 0,-1 1,0-1,1 0,-1 0,1 0,-1 1,1-1,-1 0,1 0,0 0,16 8,0-1,0 0,1-2,0 0,32 4,-30-5,8 2,23 5,0-3,95 5,1426-15,-1338 17,13 0,-187-16,-23-1,1 2,0 1,58 10,-45-2,1-4,-1-1,68-4,-65-1,-31 1</inkml:trace>
</inkml:ink>
</file>

<file path=ppt/ink/ink2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09:28.787"/>
    </inkml:context>
    <inkml:brush xml:id="br0">
      <inkml:brushProperty name="width" value="0.025" units="cm"/>
      <inkml:brushProperty name="height" value="0.025" units="cm"/>
      <inkml:brushProperty name="color" value="#E71224"/>
    </inkml:brush>
  </inkml:definitions>
  <inkml:trace contextRef="#ctx0" brushRef="#br0">132 196 24575,'32'1'0,"-18"0"0,1 0 0,26-4 0,-37 3 0,-1-1 0,1 0 0,-1 0 0,0 0 0,1 0 0,-1 0 0,0-1 0,0 1 0,0-1 0,0 0 0,0 0 0,0 0 0,0-1 0,-1 1 0,1 0 0,3-6 0,2-4 0,0 0 0,-2-1 0,1 0 0,-1-1 0,-1 1 0,6-24 0,-11 35 0,0 0 0,0 1 0,0-1 0,0 0 0,0 1 0,0-1 0,0 0 0,-1 1 0,1-1 0,0 1 0,-1-1 0,0 0 0,1 1 0,-1-1 0,0 1 0,0 0 0,0-1 0,0 1 0,0 0 0,0-1 0,0 1 0,0 0 0,0 0 0,-1 0 0,1 0 0,0 0 0,-1 0 0,1 0 0,-1 0 0,1 1 0,-1-1 0,1 1 0,-1-1 0,0 1 0,1-1 0,-1 1 0,-2 0 0,-9-2 0,0 0 0,0 2 0,-23 0 0,25 1 0,-13-1 0,11-1 0,-1 2 0,0-1 0,1 2 0,-18 3 0,28-4 0,-1 0 0,1 1 0,-1-1 0,1 1 0,0-1 0,-1 1 0,1 0 0,0 0 0,0 1 0,0-1 0,1 0 0,-1 1 0,0 0 0,1 0 0,0 0 0,0 0 0,0 0 0,0 0 0,0 0 0,-1 5 0,-9 26 0,-13 67 0,16-64 0,9-35 0,-1 1 0,0-1 0,1 0 0,-1 0 0,1 1 0,0-1 0,-1 0 0,1 1 0,0-1 0,1 0 0,-1 0 0,0 1 0,1-1 0,-1 0 0,1 0 0,-1 1 0,1-1 0,0 0 0,0 0 0,0 0 0,1 0 0,-1 0 0,0 0 0,1 0 0,-1-1 0,1 1 0,-1 0 0,1-1 0,0 1 0,0-1 0,0 0 0,0 0 0,0 1 0,0-1 0,0 0 0,0-1 0,0 1 0,0 0 0,1-1 0,2 1 0,32 8-118,0-2-1,1-1 0,0-3 1,0 0-1,49-5 0,-58 2-534,-6 0-6173</inkml:trace>
</inkml:ink>
</file>

<file path=ppt/ink/ink2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09:35.073"/>
    </inkml:context>
    <inkml:brush xml:id="br0">
      <inkml:brushProperty name="width" value="0.025" units="cm"/>
      <inkml:brushProperty name="height" value="0.025" units="cm"/>
      <inkml:brushProperty name="color" value="#E71224"/>
    </inkml:brush>
  </inkml:definitions>
  <inkml:trace contextRef="#ctx0" brushRef="#br0">29 1 24575,'-5'5'0,"-1"5"0,0 7 0,1 4 0,2 4 0,1 2 0,1 1 0,1 1 0,0-1 0,0 1 0,0-1 0,0 0 0,0-1 0,1 0 0,-1-4-8191</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36.433"/>
    </inkml:context>
    <inkml:brush xml:id="br0">
      <inkml:brushProperty name="width" value="0.035" units="cm"/>
      <inkml:brushProperty name="height" value="0.035" units="cm"/>
      <inkml:brushProperty name="color" value="#E71224"/>
    </inkml:brush>
  </inkml:definitions>
  <inkml:trace contextRef="#ctx0" brushRef="#br0">1 0 24575,'0'0'-8191</inkml:trace>
</inkml:ink>
</file>

<file path=ppt/ink/ink2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7:19.370"/>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1 48,'69'-4,"88"-14,31-3,541 17,-386 6,-203-2,451 18,-341 0,-131-8,180-9,-135-3,-144 2</inkml:trace>
</inkml:ink>
</file>

<file path=ppt/ink/ink2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7:34.798"/>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0 114,'1'-2,"-1"1,1 0,-1-1,1 1,-1 0,1-1,0 1,0 0,0 0,0 0,0 0,0 0,0 0,0 0,0 0,0 0,0 0,1 0,-1 1,2-2,32-14,-27 13,28-8,0 1,0 2,0 1,1 2,72 0,93-12,-130 11,143 5,-96 4,79-5,200 4,-263 8,90 2,1-1,11 1,146 4,-80 2,-243-12,824 42,-741-38,-20 1,22-9,223 10,894 18,-1185-37,-1-2,75-21,-85 17,-42 8</inkml:trace>
</inkml:ink>
</file>

<file path=ppt/ink/ink2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7:38.736"/>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1 31,'25'1,"46"9,-5 0,847 14,-693-25,-65 13,2 0,813-13,-781-11,0 0,163 15,249-5,-434-9,41 0,1088 12,-1276-3,1 0,0-1,-1-1,21-7,-18 5,1 0,38-3,120 9,-115 2,106-10,-142 4</inkml:trace>
</inkml:ink>
</file>

<file path=ppt/ink/ink2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7:47.552"/>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1 106,'78'-1,"8"0,142 16,-136-6,1-4,97-8,-42 0,1912 3,-1838-11,-21 0,-147 11,1-2,103-19,-36 0,185-9,-125 17,-67 1,0 6,189 14,-173 2,-108-10</inkml:trace>
</inkml:ink>
</file>

<file path=ppt/ink/ink2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7:54.245"/>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16 200,'951'-17,"-500"-6,35 18,-97 5,-121-22,503-27,-746 46,221-29,-190 27,-1 2,72 5,-27 0,69-3,181 3,52 28,-222-15,181 24,-306-27,-54-12,-1 0,1 0,0 0,-1 0,1 0,0 0,0 1,-1-1,1 0,0 0,-1 1,1-1,0 0,-1 1,1-1,-1 1,1-1,-1 1,1-1,-1 1,1-1,-1 1,1-1,-1 1,1 0,-1-1,0 1,0 0,1-1,-1 1,0 0,0 0,0-1,0 1,1 0,-1-1,0 1,0 0,-1 0,1-1,0 1,0 0,0-1,0 1,-1 0,1 0,0-1,-1 1,1-1,0 1,-1 0,1-1,-1 1,1-1,-1 1,1-1,-1 1,1-1,-1 1,0-1,1 0,-1 1,0-1,1 0,-1 1,-1-1,-25 15,-1 0,-1-2,0-2,-53 15,24-8,26-11,0-1,0-2,0 0,-1-3,0 0,-38-6,-20 2,-2664 3,1683-57,541 45,320 16,146-2,44 0,0-1,1-1,-1-1,0 0,0-2,0 0,-26-9,46 12,0 0,-1 0,1-1,0 1,0-1,-1 1,1-1,0 1,0-1,0 0,0 1,0-1,0 0,0 0,0 0,0 0,0 0,1 0,-1 0,0 0,0 0,1 0,-1 0,1 0,-1-1,1 1,-1-2,2 1,-1 0,1 1,0-1,0 0,0 1,0 0,0-1,0 1,0-1,1 1,-1 0,0 0,1 0,-1 0,1 0,2-2,9-4,1 1,-1 0,24-6,27-5,13-5,0 4,88-9,-5 10,183-10,536 46,111-12,-570-9,1377 2,-1746 0</inkml:trace>
</inkml:ink>
</file>

<file path=ppt/ink/ink2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8:03.345"/>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1 0,'1053'0,"-1020"2,0 2,0 1,44 13,47 7,169 0,-209-19,455 1,-312-10,579 3,-778 2,0 1,0 1,27 8,24 4,150 7,-135-17,149 31,-206-32,1 0,-1-3,0-1,39-4,9 1,669 2,-506 21,-67-3,205 10,-301-18,58 1,-123-11,-7-1,1 1,0 1,-1 0,1 1,16 4,-26-5,0 1,0-1,-1 1,1 0,0 0,-1 1,1-1,-1 1,0 0,0 0,0 0,0 0,0 0,-1 1,1-1,-1 1,0-1,0 1,0 0,-1 0,2 5,0-1,-1-1,0 1,-1-1,0 1,0 0,-1 0,0-1,0 1,0 0,-1 0,0-1,-1 1,-3 8,-1-1,-1 0,0-1,-1 0,-1 0,-13 16,-11 17,23-31,-1 0,-22 23,27-33,0-1,0 0,-1 0,1-1,-1 1,0-2,0 1,-1-1,-13 5,-15 0,-1-1,-58 4,-15 2,79-10,0 0,0-3,0 0,-62-10,26 2,-52 4,81 5,0-3,-57-9,39 4,0 2,-1 3,-69 5,10 0,-1070-3,909-12,22 1,-91-11,-11 0,-678 23,875-14,63 3,44 7,-1-3,1-2,0-2,-100-34,149 42,0 0,0 0,0 0,0-1,1 1,-1-1,1 0,0 0,0 0,0-1,0 1,0-1,1 1,-1-1,1 0,0 0,0 0,1 0,-1-1,1 1,0 0,-1-8,0-6,1 0,1 0,1 1,4-25,-5 34,1 2,0 0,1 0,-1 0,1 1,0-1,1 0,-1 1,1-1,0 1,1 0,6-9,-8 12,0 0,0 0,0 1,-1-1,2 0,-1 1,0 0,0-1,0 1,1 0,-1 0,0 0,1 0,-1 1,1-1,-1 1,1 0,-1-1,1 1,0 0,-1 0,1 1,-1-1,1 0,-1 1,1 0,-1-1,1 1,3 2,16 8,-10-3,1-1,1-1,-1-1,1 0,0 0,0-1,0-1,25 3,370-5,-190-4,4-8,8-1,56 12,536-8,-684 3</inkml:trace>
</inkml:ink>
</file>

<file path=ppt/ink/ink2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8:08.708"/>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0 69,'2040'0,"-1984"-3,-1-2,88-21,-90 15,1 2,92-4,-115 13,26-2,0 4,0 1,0 4,66 15,-56-1,-45-13,0-1,0 0,1-2,0 0,0-2,35 1,-20-13,-34 8,0 0,-1 0,1 0,0 0,0 0,0 1,-1 0,1 0,6 0,-8 1,-1 0,1-1,-1 1,1 0,-1 0,0 0,1 0,-1 1,0-1,0 0,0 1,0-1,0 0,0 1,0-1,-1 1,1-1,0 1,-1 0,1-1,-1 1,0 0,1-1,-1 1,0 0,0-1,0 4,2 15,0 1,-2 0,0 0,-1 0,-1 0,-6 25,6-43,1 1,-1-1,0 0,0-1,0 1,0 0,-1-1,1 1,-1-1,0 0,1 1,-1-1,0-1,0 1,0 0,0-1,-1 1,1-1,0 0,-1 0,1-1,0 1,-1 0,-3-1,-15 2,0-1,-39-3,29 0,-146-1,-347 3,399 11,-55 0,125-8,-92 16,-14 1,-255-16,219-6,-27-10,-2 1,87 12,-184-5,255-1</inkml:trace>
</inkml:ink>
</file>

<file path=ppt/ink/ink2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18:22.357"/>
    </inkml:context>
    <inkml:brush xml:id="br0">
      <inkml:brushProperty name="width" value="0.035" units="cm"/>
      <inkml:brushProperty name="height" value="0.035" units="cm"/>
      <inkml:brushProperty name="color" value="#E71224"/>
    </inkml:brush>
  </inkml:definitions>
  <inkml:trace contextRef="#ctx0" brushRef="#br0">1682 486 24575,'0'-9'0,"-2"1"0,1-1 0,-1 1 0,-1 0 0,1 0 0,-1 0 0,-1 0 0,1 1 0,-10-15 0,-48-61 0,40 61 0,-1 0 0,-2 1 0,0 2 0,-1 0 0,-1 2 0,0 0 0,-1 2 0,-1 1 0,-50-17 0,60 24 0,-23-10 0,0 1 0,-2 2 0,0 2 0,-81-12 0,-48 9 0,-279 9 0,441 8 0,0-1 0,1 2 0,-1-1 0,1 1 0,0 0 0,-1 1 0,2 0 0,-1 1 0,0 0 0,1 0 0,0 1 0,0 0 0,1 0 0,-1 1 0,1 0 0,1 0 0,-1 0 0,-7 14 0,-8 13 0,1 1 0,2 1 0,-16 44 0,24-54 0,9-22 0,-52 134 0,48-118 0,1 0 0,1 1 0,0-1 0,2 1 0,0 23 0,2-27 0,1 1 0,1-1 0,0 1 0,1-1 0,1 0 0,1 0 0,1 0 0,0-1 0,1 0 0,0 0 0,1 0 0,1-1 0,1-1 0,0 1 0,1-2 0,0 1 0,1-1 0,1-1 0,0 0 0,1-1 0,0-1 0,20 12 0,3 0 0,234 119 0,-217-117 0,-38-15 0,1-1 0,0-1 0,0-1 0,1 0 0,-1-2 0,1 0 0,31 3 0,-31-6 0,0-1 0,0 0 0,-1-1 0,1-2 0,0 1 0,-1-2 0,1 0 0,22-10 0,0-4 0,-2-2 0,56-37 0,-49 28 0,16-6 0,-34 20 0,-1-1 0,0-1 0,39-34 0,-57 45 0,0 0 0,1 0 0,0 1 0,0 0 0,0 1 0,0 0 0,1 0 0,0 1 0,10-2 0,-9 2 0,0 0 0,-1-1 0,1 0 0,-1 0 0,0-1 0,-1-1 0,10-6 0,-14 6 0,-1 0 0,1 0 0,-2-1 0,1 0 0,-1 0 0,0 0 0,0 0 0,-1 0 0,0 0 0,0-1 0,-1 1 0,1-10 0,8-27 0,-5 27-115,12-37 359,-16 52-332,0-1 1,-1 1-1,1 0 0,0 0 0,0 0 0,1 0 0,-1 0 0,0 0 0,1 0 0,-1 0 0,1 1 0,0-1 1,-1 0-1,1 1 0,0-1 0,4-1 0,5 3-6738</inkml:trace>
</inkml:ink>
</file>

<file path=ppt/ink/ink2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18:25.768"/>
    </inkml:context>
    <inkml:brush xml:id="br0">
      <inkml:brushProperty name="width" value="0.035" units="cm"/>
      <inkml:brushProperty name="height" value="0.035" units="cm"/>
      <inkml:brushProperty name="color" value="#E71224"/>
    </inkml:brush>
  </inkml:definitions>
  <inkml:trace contextRef="#ctx0" brushRef="#br0">448 113 24575,'-22'0'0,"0"2"0,1 1 0,-1 1 0,1 1 0,0 0 0,0 2 0,0 0 0,-30 16 0,26-9 0,0 0 0,0 2 0,2 1 0,0 1 0,1 1 0,-21 22 0,39-34 0,-1-1 0,1 1 0,0 0 0,0 1 0,1-1 0,0 1 0,0-1 0,1 1 0,0 0 0,0 0 0,1 0 0,0 0 0,0 9 0,0 20 0,6 55 0,-4-78 0,1 16 0,11 54 0,-11-76 0,0 1 0,1-1 0,0 0 0,0 0 0,1-1 0,0 1 0,0-1 0,1 1 0,-1-2 0,2 1 0,7 8 0,4 3 0,-1 1 0,0 1 0,-2 0 0,22 40 0,-19-30 0,33 43 0,-10-29 0,2-2 0,73 56 0,-63-54 0,-32-31 0,0-1 0,0-1 0,1 0 0,1-2 0,42 14 0,-17-10 0,2-1 0,73 7 0,-111-18 0,0-1 0,1-1 0,-1 0 0,0-1 0,1 0 0,-1 0 0,0-1 0,-1-1 0,1 0 0,0 0 0,-1-1 0,0 0 0,0-1 0,-1 0 0,17-14 0,-7 4 0,-1 0 0,-1-2 0,0 0 0,-2-1 0,0 0 0,18-31 0,-22 27 0,-1-1 0,-1-1 0,-1 0 0,8-43 0,-8 31 0,1-3 0,-3 14 0,14-42 0,-14 50 0,-2 1 0,0-1 0,0 0 0,-2 0 0,1-26 0,-8-93 0,4 126 0,-1 0 0,0 0 0,0-1 0,-1 1 0,0 1 0,-1-1 0,-1 0 0,0 1 0,0 0 0,0 0 0,-2 1 0,1-1 0,-12-12 0,-6-2 0,-1 2 0,-1 0 0,-36-22 0,42 29 0,-10-8 0,-2 1 0,0 2 0,-1 1 0,-1 1 0,0 2 0,-1 1 0,-42-10 0,-60-18 25,104 31-303,0 1 0,-1 1 0,-1 2 0,-62-6 0,73 13-6548</inkml:trace>
</inkml:ink>
</file>

<file path=ppt/ink/ink2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8:32.960"/>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91 157,'25'-2,"-1"-1,0-1,1-1,27-9,27-7,100-12,2 8,204-3,-147 27,235-9,91 0,-365 11,373 32,-192-6,-287-25,89 9,-179-11,0 1,0-1,0 1,0 0,0 0,0 0,0 0,0 0,0 0,0 1,-1 0,1-1,0 1,-1 0,0 0,1 1,-1-1,0 0,0 1,2 2,-4-3,1 0,-1 0,0 0,1 0,-1 0,0-1,0 1,0 0,0 0,-1 0,1 0,-1 0,1 0,-1 0,1 0,-1 0,0-1,0 1,0 0,0-1,0 1,0 0,-1-1,1 0,0 1,-1-1,1 0,-1 1,1-1,-1 0,-3 1,-15 9,1-2,-2 0,1-2,-1 0,0-1,-1-1,-23 2,-3 3,-8 2,-1-3,0-2,-60 0,-1417-9,1424-8,12-1,-892 6,521 8,466-2,1-1,-1 0,0 0,0 0,0 0,1 0,-1 0,0-1,0 1,0-1,1 0,-1 0,0 0,1 0,-1-1,1 1,0 0,-1-1,1 0,0 0,0 0,0 0,0 0,-2-2,-5-15</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36.760"/>
    </inkml:context>
    <inkml:brush xml:id="br0">
      <inkml:brushProperty name="width" value="0.035" units="cm"/>
      <inkml:brushProperty name="height" value="0.035" units="cm"/>
      <inkml:brushProperty name="color" value="#E71224"/>
    </inkml:brush>
  </inkml:definitions>
  <inkml:trace contextRef="#ctx0" brushRef="#br0">1 0 24575,'0'0'-8191</inkml:trace>
</inkml:ink>
</file>

<file path=ppt/ink/ink2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8:36.086"/>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1049 115,'6'1,"-1"0,1 0,0 0,0 1,-1 0,11 5,28 8,44-4,0-5,120-5,-85-3,3794 0,-3879 2,-30-3,-19-1,-22-2,-294-9,78 7,-541-3,479 14,-596-3,853-3,-81-14,-28-2,-1986-10,1960 29,137 0,-159 5,179-1,41 2,59 2,-49-6,6 2,2-1,0 1,0 1,-1 1,41 16,-34-10,1-3,-1 0,1-3,50 5,-46-7,526 35,8-38,-325-3,631-1,-834 1,0-2,0-2,44-13,33-4,1348-116,-707 131,-476 11,-217-3</inkml:trace>
</inkml:ink>
</file>

<file path=ppt/ink/ink2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9:04.910"/>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1187 59,'-263'2,"-285"-5,493-2,-61-13,72 10,1 2,-75-2,805 7,-316 3,-363-1,0-2,-1 1,1-1,0 0,-1-1,10-2,-4-1</inkml:trace>
</inkml:ink>
</file>

<file path=ppt/ink/ink2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9:46.561"/>
    </inkml:context>
    <inkml:brush xml:id="br0">
      <inkml:brushProperty name="width" value="0.2" units="cm"/>
      <inkml:brushProperty name="height" value="0.4" units="cm"/>
      <inkml:brushProperty name="color" value="#00FDFF"/>
      <inkml:brushProperty name="tip" value="rectangle"/>
      <inkml:brushProperty name="rasterOp" value="maskPen"/>
      <inkml:brushProperty name="ignorePressure" value="1"/>
    </inkml:brush>
  </inkml:definitions>
  <inkml:trace contextRef="#ctx0" brushRef="#br0">1 2,'6'0,"43"-1,0 2,-1 2,1 2,49 13,-43-8,1-3,1-1,-1-4,87-6,-18 1,2043 3,-2147 0</inkml:trace>
</inkml:ink>
</file>

<file path=ppt/ink/ink2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9:56.099"/>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1 1,'985'0,"-948"2,43 7,20 3,182 6,273 8,-314-26,-209 0</inkml:trace>
</inkml:ink>
</file>

<file path=ppt/ink/ink2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20:09.529"/>
    </inkml:context>
    <inkml:brush xml:id="br0">
      <inkml:brushProperty name="width" value="0.035" units="cm"/>
      <inkml:brushProperty name="height" value="0.035" units="cm"/>
      <inkml:brushProperty name="color" value="#E71224"/>
    </inkml:brush>
  </inkml:definitions>
  <inkml:trace contextRef="#ctx0" brushRef="#br0">1949 178 24575,'-28'0'0,"-1"0"0,1-2 0,-1-1 0,1-2 0,0-1 0,0-1 0,0-1 0,-28-12 0,40 13 0,-1 2 0,0 0 0,-1 1 0,-25-2 0,-29-7 0,-45-10 0,-1 5 0,-182-4 0,161 14 0,85 4 0,-405-8 0,448 13 0,0-1 0,0 2 0,0 0 0,0 0 0,1 1 0,-1 0 0,0 1 0,1 0 0,0 0 0,0 1 0,0 1 0,1-1 0,0 2 0,0-1 0,0 1 0,1 1 0,0 0 0,0 0 0,1 0 0,0 1 0,1 0 0,0 0 0,0 1 0,1 0 0,0 0 0,1 0 0,0 0 0,0 1 0,-2 13 0,-12 63 0,8-46 0,2 0 0,-5 67 0,13-96 0,0 0 0,0 1 0,2-1 0,-1-1 0,1 1 0,1 0 0,0 0 0,1-1 0,0 1 0,1-1 0,0 0 0,0-1 0,13 18 0,-9-18 0,0 0 0,1-1 0,0 0 0,1-1 0,0 0 0,0 0 0,1-1 0,23 10 0,-13-7 0,1-1 0,1-2 0,0 0 0,26 4 0,16-4 0,128-4 0,16 1 0,336 10 0,-447-15 0,-71-2 0,0-1 0,0-1 0,0-2 0,0-1 0,-1-1 0,48-23 0,4-1 0,-45 18 0,-2-1 0,1-2 0,-2-1 0,53-42 0,-80 58 0,0-1 0,1 1 0,-1-1 0,-1 0 0,1 0 0,-1-1 0,0 1 0,0-1 0,0 0 0,0 1 0,-1-1 0,0 0 0,0-1 0,0 1 0,2-9 0,-4 4 0,1 0 0,-1 0 0,-1 0 0,0 0 0,0-1 0,-1 1 0,-5-15 0,1 4 0,4 10 0,0 0 0,-2 0 0,1 0 0,-1 0 0,-1 0 0,0 1 0,0 0 0,-1 0 0,0 0 0,-13-14 0,-13-6-9,23 23-217,1-1 0,0 0 0,0 0 0,0-1 0,-9-14 0,11 10-6600</inkml:trace>
</inkml:ink>
</file>

<file path=ppt/ink/ink2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20:13.463"/>
    </inkml:context>
    <inkml:brush xml:id="br0">
      <inkml:brushProperty name="width" value="0.035" units="cm"/>
      <inkml:brushProperty name="height" value="0.035" units="cm"/>
      <inkml:brushProperty name="color" value="#E71224"/>
    </inkml:brush>
  </inkml:definitions>
  <inkml:trace contextRef="#ctx0" brushRef="#br0">689 225 24575,'-15'2'0,"-1"0"0,1 0 0,0 2 0,1-1 0,-25 11 0,-19 4 0,14-10 0,0-1 0,-1-3 0,0-2 0,-46-3 0,-64 3 0,152-2 0,-1 1 0,0-1 0,0 1 0,1 0 0,-1 0 0,1 0 0,-1 0 0,1 1 0,-1 0 0,1-1 0,0 1 0,0 0 0,-1 1 0,2-1 0,-1 0 0,0 1 0,0 0 0,-4 5 0,4-2 0,0 0 0,-1 0 0,2 0 0,-1 0 0,1 1 0,0-1 0,0 1 0,1-1 0,0 1 0,-1 7 0,1-1 0,1-1 0,0 1 0,1 0 0,1-1 0,-1 1 0,2 0 0,0-1 0,1 0 0,0 0 0,0 0 0,7 12 0,-2-11 0,0-1 0,0 0 0,1 0 0,1-1 0,0 0 0,21 16 0,4-2 0,41 21 0,24 16 0,-66-40 0,1-1 0,0-2 0,2-2 0,0-1 0,1-2 0,47 11 0,17-2 0,128 12 0,-83-25 0,150-9 0,-133-3 0,-113 1 0,1-2 0,93-19 0,-121 15 0,0-1 0,-1-1 0,0-1 0,-1 0 0,33-22 0,-52 28 0,1 1 0,-1-2 0,0 1 0,-1 0 0,1-1 0,-1 1 0,0-1 0,0 0 0,0 0 0,-1-1 0,0 1 0,0 0 0,0-1 0,0 1 0,-1-1 0,0 0 0,0 1 0,-1-1 0,0 0 0,0 0 0,0 1 0,-1-9 0,-3-15 0,0 0 0,-2 1 0,-9-29 0,14 55 0,-22-76 0,-36-77 0,52 142 0,-1 2 0,0-1 0,-1 1 0,-1 0 0,-20-18 0,2 0 0,5 6 0,-1 2 0,-1 0 0,-1 1 0,-1 2 0,-1 1 0,0 1 0,-58-23 0,27 17 0,0 2 0,-2 3 0,-71-10 0,38 17 0,-2 4 0,-119 8 0,66 0 0,134-2 0,0-1 0,0 2 0,1 0 0,-1 1 0,0 1 0,1 0 0,-1 0 0,1 2 0,0 0 0,1 0 0,-1 1 0,-12 9 0,1-1 0,1 1 0,-41 34 0,58-42 0,0-1 0,1 2 0,-1-1 0,2 1 0,-1 0 0,1 0 0,0 0 0,1 1 0,0 0 0,0 0 0,1 0 0,-3 12 0,5-12 0,-1 0 0,0 0 0,-1-1 0,0 1 0,0-1 0,-1 1 0,0-1 0,0 0 0,-1 0 0,0-1 0,0 1 0,-1-1 0,0-1 0,0 1 0,-14 10 0,13-10-227,0 0-1,0 0 1,1 1-1,0-1 1,-7 11-1,6-5-6598</inkml:trace>
</inkml:ink>
</file>

<file path=ppt/ink/ink2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20:21.980"/>
    </inkml:context>
    <inkml:brush xml:id="br0">
      <inkml:brushProperty name="width" value="0.035" units="cm"/>
      <inkml:brushProperty name="height" value="0.035" units="cm"/>
      <inkml:brushProperty name="color" value="#E71224"/>
    </inkml:brush>
  </inkml:definitions>
  <inkml:trace contextRef="#ctx0" brushRef="#br0">1 0 24575,'0'0'-8191</inkml:trace>
</inkml:ink>
</file>

<file path=ppt/ink/ink2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22:05.263"/>
    </inkml:context>
    <inkml:brush xml:id="br0">
      <inkml:brushProperty name="width" value="0.035" units="cm"/>
      <inkml:brushProperty name="height" value="0.035" units="cm"/>
    </inkml:brush>
  </inkml:definitions>
  <inkml:trace contextRef="#ctx0" brushRef="#br0">1663 48 24575,'-1238'0'0,"1202"2"0,1 3 0,-1 0 0,1 2 0,0 2 0,-47 18 0,-3 1 0,80-27 0,1 0 0,0 1 0,-1 0 0,1 0 0,0 0 0,0 1 0,0-1 0,1 1 0,-1 0 0,1 0 0,-1 1 0,1-1 0,0 0 0,0 1 0,1 0 0,-1 0 0,1 0 0,0 0 0,0 0 0,0 0 0,0 1 0,1-1 0,-1 0 0,1 1 0,0 6 0,-1 9 0,0 0 0,2 0 0,1 0 0,4 30 0,-5-45 0,4 7 0,0 0 0,1 0 0,1-1 0,0 0 0,0 0 0,1 0 0,0 0 0,1-1 0,15 16 0,-14-15 0,-6-8 0,20 26 0,0-1 0,2-1 0,1-2 0,1 0 0,56 39 0,-38-37 0,76 34 0,-103-53 0,2-1 0,-1-1 0,1-1 0,0 0 0,0-2 0,0 0 0,25-1 0,920 17 0,-252 25 0,-701-43 0,1-1 0,-1 0 0,1-1 0,-1 0 0,1-1 0,-1 0 0,0-1 0,0 0 0,0-1 0,0 0 0,-1-1 0,1-1 0,-1 0 0,15-11 0,57-28 0,-61 34 0,0-2 0,25-16 0,-44 27 0,-1-1 0,1 1 0,0-1 0,0 0 0,-1 0 0,0 0 0,0 0 0,0 0 0,0 0 0,0-1 0,0 1 0,-1-1 0,0 1 0,1-1 0,-2 0 0,1 1 0,0-1 0,-1 0 0,1 0 0,-1 0 0,0 1 0,0-1 0,-1 0 0,1 0 0,-1 0 0,0 1 0,0-1 0,0 0 0,0 1 0,-1-1 0,-2-3 0,-6-13 0,-1 0 0,0 1 0,-2 1 0,-17-21 0,12 16 0,-2-5 0,-1 1 0,-1 0 0,-1 2 0,-1 0 0,-1 2 0,-1 1 0,-46-30 0,22 23 0,10 4 0,-1 2 0,-78-31 0,16 12 0,-14-5 0,96 42 0,0 0 0,-32-1 0,-2-1 0,18 2 0,1 1 0,-1 2 0,1 2 0,-54 6 0,64-3 0,0 1 0,0 2 0,1 0 0,0 2 0,0 1 0,-44 22 0,64-28-151,0 0-1,0 0 0,1 1 0,-1-1 1,1 1-1,0 0 0,0 0 1,-6 9-1,-1 5-6674</inkml:trace>
</inkml:ink>
</file>

<file path=ppt/ink/ink2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22:08.982"/>
    </inkml:context>
    <inkml:brush xml:id="br0">
      <inkml:brushProperty name="width" value="0.035" units="cm"/>
      <inkml:brushProperty name="height" value="0.035" units="cm"/>
    </inkml:brush>
  </inkml:definitions>
  <inkml:trace contextRef="#ctx0" brushRef="#br0">580 160 24575,'-33'0'0,"1"2"0,0 1 0,1 1 0,-1 1 0,-35 12 0,49-11 0,1 1 0,-1 0 0,1 2 0,1 0 0,0 0 0,0 2 0,1 0 0,0 0 0,1 2 0,-15 16 0,12-12 0,2 0 0,0 1 0,0 1 0,2 0 0,0 1 0,2 0 0,0 1 0,1 0 0,-9 30 0,11-15 0,2 1 0,2 1 0,1-1 0,2 1 0,4 43 0,-2 1 0,1-63 0,1-1 0,0 0 0,1 0 0,1 0 0,1-1 0,13 28 0,-7-16 0,3 4 0,32 54 0,6 9 0,-25-31 0,-15-32 0,2 0 0,34 56 0,37 21 0,-75-99 0,0-1 0,1 0 0,0 0 0,0-1 0,1-1 0,18 9 0,86 36 0,-105-48 0,46 20 0,-27-11 0,-1-1 0,2-2 0,-1-1 0,62 11 0,97-5 0,226-10 0,-416-6 0,28-3 0,0 0 0,0-2 0,0-1 0,-1-2 0,0 0 0,-1-2 0,0-1 0,0-1 0,-1-1 0,-1-1 0,0-1 0,23-20 0,-33 22 0,-1-1 0,0-1 0,-1 0 0,0-1 0,-1 0 0,-1-1 0,-1 0 0,0 0 0,9-30 0,-1 7 0,-2 2 0,18-72 0,-21 67 0,2-17 0,-3 0 0,6-81 0,-16 121 0,0-1 0,-1 1 0,-1 0 0,-1 0 0,-1 0 0,0 0 0,-2 1 0,0-1 0,-1 1 0,-17-35 0,5 16 0,-1 0 0,-3 2 0,-32-44 0,-7 6 0,-3 2 0,-3 3 0,-142-113 0,177 162 0,-2 1 0,0 2 0,0 1 0,-2 2 0,0 1 0,-45-10 0,-21-8 0,65 20 0,-2 1 0,1 2 0,-1 2 0,0 1 0,0 2 0,-1 2 0,-66 6 0,97-4 11,1 1 0,-1 0 0,1 1 0,0 0 0,0 0 0,0 1-1,0 0 1,0 0 0,1 1 0,-14 10 0,3 1-506,0 1 0,-25 31 0,34-36-6331</inkml:trace>
</inkml:ink>
</file>

<file path=ppt/ink/ink2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22:55.479"/>
    </inkml:context>
    <inkml:brush xml:id="br0">
      <inkml:brushProperty name="width" value="0.035" units="cm"/>
      <inkml:brushProperty name="height" value="0.035" units="cm"/>
    </inkml:brush>
  </inkml:definitions>
  <inkml:trace contextRef="#ctx0" brushRef="#br0">696 0 24575,'-87'1'0,"0"3"0,-96 18 0,-42 1 0,219-22 0,0 0 0,1 1 0,-1 0 0,1 0 0,-1 0 0,1 1 0,0-1 0,0 1 0,0 1 0,0-1 0,0 1 0,1-1 0,0 1 0,0 0 0,0 1 0,0-1 0,0 1 0,1 0 0,0 0 0,0 0 0,0 0 0,1 0 0,0 1 0,0-1 0,0 1 0,1 0 0,0-1 0,0 1 0,-1 10 0,1-2 0,1 0 0,0 1 0,1-1 0,1 0 0,0 0 0,1 0 0,0-1 0,1 1 0,1-1 0,0 0 0,9 17 0,-8-19 0,-3-3 0,1-1 0,0 1 0,1-1 0,-1 0 0,1 0 0,0 0 0,1-1 0,0 0 0,0 0 0,0 0 0,1-1 0,0 0 0,8 5 0,-14-10 0,0 1 0,1 0 0,-1 0 0,0 0 0,0 1 0,1-1 0,-1 0 0,0 0 0,0 1 0,0-1 0,-1 0 0,1 1 0,0-1 0,0 1 0,-1-1 0,1 1 0,-1 0 0,1-1 0,-1 4 0,4 40 0,1 0 0,9-11 0,-6-16 0,-1 0 0,-1 1 0,0 0 0,-1 0 0,-1 0 0,2 23 0,-6 73 0,-1-70 0,2 0 0,12 82 0,-6-89 0,1 5 0,2 0 0,26 75 0,-33-113 0,0 0 0,0 1 0,0-1 0,1 0 0,0-1 0,0 1 0,0-1 0,1 0 0,-1 0 0,1 0 0,0 0 0,0-1 0,7 4 0,10 4 0,1-1 0,25 7 0,21 10 0,-53-19 0,0 1 0,1 0 0,1-1 0,-1-1 0,1 0 0,0-2 0,0 0 0,1-1 0,0 0 0,36 1 0,-20-6 0,7 2 0,0-2 0,0-1 0,-1-3 0,1-1 0,-1-2 0,50-16 0,-80 19 0,1 1 0,-1-1 0,0-1 0,-1 0 0,1 0 0,10-9 0,-17 11 0,0 0 0,0 0 0,-1 0 0,1-1 0,-1 1 0,0-1 0,0 1 0,0-1 0,-1 0 0,0 0 0,0-1 0,0 1 0,-1 0 0,1-1 0,-1 1 0,0-7 0,0-12 0,-1-1 0,-2 1 0,-8-49 0,5 42 0,-3-56 0,9 73 0,-1 1 0,-1-1 0,0 1 0,-1-1 0,0 1 0,-1 0 0,-1 0 0,-5-13 0,-1-3 0,-12-52 0,16 54 0,-1-1 0,-15-33 0,-51-148 0,69 196 0,0-1 0,1 1 0,0-1 0,1 1 0,0-1 0,1 0 0,1-14 0,0 8 0,-1 1 0,-7-33 0,6 35 0,0 0 0,0-1 0,3-32 0,0 34 0,-1 1 0,0 0 0,-1 0 0,-1 0 0,-4-18 0,4 29 0,0 1 0,0-1 0,0 1 0,-1 0 0,1 0 0,-1 0 0,0 0 0,0 0 0,0 1 0,0-1 0,0 1 0,-1 0 0,1 0 0,-1 0 0,1 1 0,-1-1 0,0 1 0,0 0 0,1 0 0,-8-1 0,-13-3 0,-1 1 0,-25-1 0,43 5 0,-175-3-1365,157 3-5461</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38.731"/>
    </inkml:context>
    <inkml:brush xml:id="br0">
      <inkml:brushProperty name="width" value="0.035" units="cm"/>
      <inkml:brushProperty name="height" value="0.035" units="cm"/>
      <inkml:brushProperty name="color" value="#E71224"/>
    </inkml:brush>
  </inkml:definitions>
  <inkml:trace contextRef="#ctx0" brushRef="#br0">0 0 24575,'0'4'0,"0"5"0,0 4 0,4 1 0,5-3 0,1-7 0,-2-3-8191</inkml:trace>
</inkml:ink>
</file>

<file path=ppt/ink/ink2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23:19.169"/>
    </inkml:context>
    <inkml:brush xml:id="br0">
      <inkml:brushProperty name="width" value="0.2" units="cm"/>
      <inkml:brushProperty name="height" value="0.4" units="cm"/>
      <inkml:brushProperty name="color" value="#00FDFF"/>
      <inkml:brushProperty name="tip" value="rectangle"/>
      <inkml:brushProperty name="rasterOp" value="maskPen"/>
      <inkml:brushProperty name="ignorePressure" value="1"/>
    </inkml:brush>
  </inkml:definitions>
  <inkml:trace contextRef="#ctx0" brushRef="#br0">0 23,'372'2,"391"-4,-625-8,-99 5,-1 2,1 2,0 1,0 2,56 10,-35 2,0-3,1-2,1-3,-1-3,123-8,-20-18,-72 9,156-5,1488 21,-984-2,-725 1,45 8,19 2,310-7,152 6,284 21,-393-32,-425 1</inkml:trace>
</inkml:ink>
</file>

<file path=ppt/ink/ink2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23:28.356"/>
    </inkml:context>
    <inkml:brush xml:id="br0">
      <inkml:brushProperty name="width" value="0.2" units="cm"/>
      <inkml:brushProperty name="height" value="0.4" units="cm"/>
      <inkml:brushProperty name="color" value="#00FDFF"/>
      <inkml:brushProperty name="tip" value="rectangle"/>
      <inkml:brushProperty name="rasterOp" value="maskPen"/>
      <inkml:brushProperty name="ignorePressure" value="1"/>
    </inkml:brush>
  </inkml:definitions>
  <inkml:trace contextRef="#ctx0" brushRef="#br0">1 31,'672'-17,"28"9,-394 11,-221-2,91-3,-154-1,-5-2</inkml:trace>
</inkml:ink>
</file>

<file path=ppt/ink/ink2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23:30.999"/>
    </inkml:context>
    <inkml:brush xml:id="br0">
      <inkml:brushProperty name="width" value="0.2" units="cm"/>
      <inkml:brushProperty name="height" value="0.4" units="cm"/>
      <inkml:brushProperty name="color" value="#00FDFF"/>
      <inkml:brushProperty name="tip" value="rectangle"/>
      <inkml:brushProperty name="rasterOp" value="maskPen"/>
      <inkml:brushProperty name="ignorePressure" value="1"/>
    </inkml:brush>
  </inkml:definitions>
  <inkml:trace contextRef="#ctx0" brushRef="#br0">0 1,'8'0,"5"0,6 0,6 0,2 0,5 0,1 0,-2 0,1 0,-1 0,6 0,4 0,6 0,7 0,1 0,-5 0,-11 0</inkml:trace>
</inkml:ink>
</file>

<file path=ppt/ink/ink2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23:32.468"/>
    </inkml:context>
    <inkml:brush xml:id="br0">
      <inkml:brushProperty name="width" value="0.2" units="cm"/>
      <inkml:brushProperty name="height" value="0.4" units="cm"/>
      <inkml:brushProperty name="color" value="#00FDFF"/>
      <inkml:brushProperty name="tip" value="rectangle"/>
      <inkml:brushProperty name="rasterOp" value="maskPen"/>
      <inkml:brushProperty name="ignorePressure" value="1"/>
    </inkml:brush>
  </inkml:definitions>
  <inkml:trace contextRef="#ctx0" brushRef="#br0">1 23,'4'0,"4"0,6 0,3 0,3 0,2 0,5 0,4 0,6 0,3 0,-1 0,1-3,4-2,6 0,6 1,4 2,4 0,-9 1</inkml:trace>
</inkml:ink>
</file>

<file path=ppt/ink/ink2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16:27.947"/>
    </inkml:context>
    <inkml:brush xml:id="br0">
      <inkml:brushProperty name="width" value="0.035" units="cm"/>
      <inkml:brushProperty name="height" value="0.035" units="cm"/>
      <inkml:brushProperty name="color" value="#E71224"/>
    </inkml:brush>
  </inkml:definitions>
  <inkml:trace contextRef="#ctx0" brushRef="#br0">689 137 24575,'-8'7'0,"-1"0"0,1-1 0,-1 0 0,0 0 0,-12 5 0,10-6 0,0 1 0,1 1 0,-16 12 0,-3 8 0,2 2 0,2 0 0,-30 44 0,-55 105 0,53-82 0,33-48 0,1 1 0,3 1 0,1 1 0,-19 91 0,-10 29 0,39-141 0,-7 51 0,-4 14 0,6-38 0,2 1 0,3-1 0,-2 77 0,11 181 0,3-133 0,-4 27 0,3 222 0,8-254 0,2 95 0,0 10 0,-1-111 0,14 165 0,-5-93 0,-16-218 0,1 0 0,1-1 0,1 0 0,1 0 0,2 0 0,13 25 0,20 53 0,41 172 0,72 189 0,-113-357 0,-15-34 0,4-1 0,67 113 0,-9-13 0,128 134 0,-210-294 0,1 0 0,0-1 0,0 0 0,1 0 0,1-1 0,-1-1 0,1 0 0,1 0 0,-1-1 0,1 0 0,1-1 0,-1 0 0,1-1 0,0-1 0,0 0 0,0-1 0,1 0 0,-1-1 0,1 0 0,22-1 0,5-1 0,159-3 0,-179 0 0,1-1 0,-1-1 0,0-1 0,0-1 0,-1-1 0,0-1 0,0 0 0,-1-2 0,22-15 0,-29 16 0,-1 0 0,0-1 0,-1 0 0,-1 0 0,1-2 0,13-22 0,-14 19 0,1 1 0,1 1 0,1 0 0,15-16 0,-6 11 0,-1-1 0,0-2 0,-2 0 0,-1 0 0,0-2 0,16-32 0,-11 20 0,2 1 0,1 1 0,31-33 0,-36 45 0,21-22 0,-1-3 0,40-64 0,-40 40 0,46-116 0,-83 177 0,-1 1 0,0-1 0,-1 0 0,0 0 0,-1 0 0,0 1 0,-1-1 0,1 0 0,-2 0 0,-3-13 0,-1-27 0,3 5 0,3 0 0,1 0 0,2 0 0,3 0 0,11-47 0,-10 56 0,-1-1 0,-1 0 0,-2 0 0,-2-1 0,-4-51 0,1 81 0,0-1 0,0 1 0,0 0 0,-1 0 0,0 1 0,-5-9 0,4 8 0,1 1 0,-1-1 0,1 0 0,1 0 0,0 0 0,-2-10 0,2-107 0,4 99 0,-2 1 0,0-1 0,-2 1 0,-1 0 0,-1-1 0,-10-33 0,7 36 0,1 0 0,2 0 0,0-1 0,-2-38 0,8-101 0,0 67 0,-1-26 0,24-175 0,-3 168 0,-6 38 0,-3 0 0,1-131 0,1-100 0,-10 240 0,-4-1 0,-3 1 0,-26-157 0,7 39 0,-2-12 0,15 158 0,1-74 0,6 87 0,-2-1 0,-1 1 0,-17-72 0,-74-182 0,66 216 0,-22-103 0,6-34 0,43 209 0,0 1 0,-1-1 0,0 1 0,1 0 0,-2 0 0,1 0 0,-1 0 0,0 1 0,0-1 0,-1 1 0,1 0 0,-11-8 0,-7-4 0,-47-28 0,13 10 0,43 27 0,1 0 0,-2 1 0,1 1 0,-1 0 0,0 1 0,0 0 0,-1 1 0,1 1 0,-30-3 0,-10 3 0,-77 4 0,50 2 0,-10-4 0,-85 3 0,160 0 0,0 1 0,1 1 0,-1 1 0,1 0 0,0 1 0,-20 11 0,-9 4 0,-38 15 0,-121 74 0,185-96-12,1 1 0,0 0 0,1 1 0,1 1 0,0 0 0,1 1 0,-21 37 0,-4 3-1257,21-34-5557</inkml:trace>
</inkml:ink>
</file>

<file path=ppt/ink/ink2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59:56.432"/>
    </inkml:context>
    <inkml:brush xml:id="br0">
      <inkml:brushProperty name="width" value="0.035" units="cm"/>
      <inkml:brushProperty name="height" value="0.035" units="cm"/>
      <inkml:brushProperty name="color" value="#E71224"/>
    </inkml:brush>
  </inkml:definitions>
  <inkml:trace contextRef="#ctx0" brushRef="#br0">0 156 24575,'10'1'0,"0"0"0,0 2 0,0-1 0,-1 1 0,10 4 0,6 1 0,22 7 0,2-3 0,-1-2 0,2-2 0,-1-2 0,1-2 0,70-4 0,-99-3 0,0-1 0,0-1 0,0-1 0,30-13 0,40-12 0,-49 24 0,1 1 0,0 3 0,83 3 0,-54 1 0,1111 2 0,-1018 11 0,-68-3 0,-4-3 0,245 13 0,328-43 0,-459 15 0,77-8 0,280 2 0,-348 16 0,4030-3 0,-4025-14 0,4 1 0,-116 9 0,-1-4 0,0-5 0,174-44 0,-201 40-682,107-7-1,-130 18-6143</inkml:trace>
</inkml:ink>
</file>

<file path=ppt/ink/ink2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10:32.418"/>
    </inkml:context>
    <inkml:brush xml:id="br0">
      <inkml:brushProperty name="width" value="0.035" units="cm"/>
      <inkml:brushProperty name="height" value="0.035" units="cm"/>
      <inkml:brushProperty name="color" value="#E71224"/>
    </inkml:brush>
  </inkml:definitions>
  <inkml:trace contextRef="#ctx0" brushRef="#br0">1 0 24575,'79'74'0,"-2"8"0,-62-66 0,4 2 0,-12-22 0,-3-14 0,-4-57-1365,-1 48-5461</inkml:trace>
</inkml:ink>
</file>

<file path=ppt/ink/ink2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10:35.996"/>
    </inkml:context>
    <inkml:brush xml:id="br0">
      <inkml:brushProperty name="width" value="0.035" units="cm"/>
      <inkml:brushProperty name="height" value="0.035" units="cm"/>
      <inkml:brushProperty name="color" value="#E71224"/>
    </inkml:brush>
  </inkml:definitions>
  <inkml:trace contextRef="#ctx0" brushRef="#br0">152 0 24575,'2'78'0,"0"-44"0,-1 1 0,-7 61 0,5-93 0,-1 1 0,1-2 0,-1 1 0,0 0 0,1 0 0,-1-1 0,0 1 0,-1-1 0,1 1 0,0-1 0,-1 0 0,1 0 0,-1 0 0,0 0 0,0 0 0,1-1 0,-1 1 0,0-1 0,0 0 0,-1 0 0,1 0 0,0 0 0,0 0 0,0-1 0,-1 0 0,1 1 0,0-1 0,-7-1 0,7 1 0,-1 0 0,0 0 0,1-1 0,-1 1 0,1-1 0,-1 0 0,1 0 0,-1-1 0,1 1 0,-1 0 0,-5-5 0,8 5 0,0 0 0,-1 0 0,1 0 0,0 0 0,-1-1 0,1 1 0,0-1 0,0 1 0,0-1 0,0 1 0,1-1 0,-1 0 0,0 1 0,1-1 0,-1 0 0,1 0 0,-1 1 0,1-1 0,0 0 0,0 0 0,0 0 0,0 1 0,0-4 0,3-2 0,-1 1 0,1-1 0,1 1 0,-1 0 0,1 0 0,0 0 0,1 1 0,-1 0 0,1-1 0,0 2 0,1-1 0,-1 0 0,7-3 0,7-9 0,-1-1 0,-12 11 0,0 0 0,1 1 0,-1 0 0,1 0 0,0 1 0,1-1 0,0 1 0,0 1 0,8-4 0,-15 8 0,-1-1 0,0 1 0,1 0 0,-1 0 0,1 0 0,-1 0 0,0 0 0,1 0 0,-1 0 0,1 1 0,-1-1 0,0 0 0,1 0 0,-1 0 0,0 0 0,1 0 0,-1 0 0,1 1 0,-1-1 0,0 0 0,0 0 0,1 1 0,-1-1 0,0 0 0,1 1 0,-1-1 0,0 0 0,0 0 0,1 1 0,-1-1 0,0 1 0,0-1 0,0 0 0,1 1 0,1 20 0,-7 18 0,4-36 0,1 0 0,-1 0 0,-1 0 0,1 0 0,0 0 0,-1 0 0,1 0 0,-1-1 0,0 1 0,0-1 0,0 1 0,0-1 0,0 1 0,-1-1 0,1 0 0,-1 0 0,0 0 0,1-1 0,-1 1 0,0-1 0,0 1 0,0-1 0,0 0 0,0 0 0,0 0 0,0 0 0,0-1 0,-5 1 0,2-2 0,0 1 0,0-2 0,0 1 0,0-1 0,1 1 0,-1-2 0,1 1 0,-1 0 0,1-1 0,0 0 0,0-1 0,0 1 0,0-1 0,-7-7 0,9 8 0,-1 0 0,1-1 0,0 0 0,0 0 0,1 0 0,-1 0 0,1 0 0,-1 0 0,1-1 0,1 1 0,-1-1 0,1 0 0,-1 1 0,1-1 0,1 0 0,-1-5 0,1 8 0,0 0 0,0 0 0,1 0 0,-1 0 0,1 0 0,-1 0 0,1 0 0,0 0 0,0 0 0,0 0 0,0 0 0,0 0 0,0 0 0,0 1 0,1-1 0,-1 0 0,1 1 0,-1-1 0,1 1 0,0 0 0,-1-1 0,1 1 0,0 0 0,0 0 0,0 0 0,0 0 0,0 1 0,0-1 0,0 0 0,0 1 0,0 0 0,0-1 0,0 1 0,0 0 0,1 0 0,-1 0 0,4 1 0,-1-1-85,-1 1 0,1-1-1,0 1 1,0 1 0,-1-1-1,1 1 1,-1-1 0,0 1-1,1 1 1,-1-1 0,0 0-1,0 1 1,0 0 0,0 0-1,4 5 1,3 5-6741</inkml:trace>
</inkml:ink>
</file>

<file path=ppt/ink/ink2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10:43.392"/>
    </inkml:context>
    <inkml:brush xml:id="br0">
      <inkml:brushProperty name="width" value="0.035" units="cm"/>
      <inkml:brushProperty name="height" value="0.035" units="cm"/>
      <inkml:brushProperty name="color" value="#E71224"/>
    </inkml:brush>
  </inkml:definitions>
  <inkml:trace contextRef="#ctx0" brushRef="#br0">88 173 24575,'-1'0'0,"0"1"0,-1-1 0,1 1 0,-1 0 0,1-1 0,0 1 0,-1 0 0,1 0 0,0 0 0,0 0 0,0 1 0,0-1 0,0 0 0,0 0 0,0 0 0,0 1 0,0-1 0,0 1 0,1-1 0,-2 3 0,-13 34 0,14-33 0,-2 3 0,0 0 0,1 1 0,0-1 0,0 1 0,1-1 0,0 1 0,0 16 0,2-22 0,0 0 0,-1 0 0,1 0 0,0 1 0,0-1 0,1 0 0,-1-1 0,1 1 0,-1 0 0,1 0 0,0-1 0,0 1 0,0-1 0,0 1 0,1-1 0,-1 0 0,1 0 0,-1 0 0,1 0 0,0-1 0,-1 1 0,1-1 0,0 1 0,5 1 0,-5-2 0,-1 0 0,0 0 0,1 0 0,-1-1 0,1 1 0,-1-1 0,1 1 0,-1-1 0,1 0 0,-1 0 0,1 0 0,-1 0 0,1 0 0,-1 0 0,1-1 0,-1 0 0,1 1 0,-1-1 0,0 0 0,1 0 0,3-2 0,-3 0 0,0 1 0,-1-1 0,1 0 0,-1 0 0,0 0 0,0 0 0,0 0 0,0 0 0,-1 0 0,1-1 0,-1 1 0,0-1 0,1-5 0,2-12 0,-2 0 0,0 0 0,-1 0 0,-2-26 0,0 37 0,1-2 0,-2 1 0,1-1 0,-1 1 0,-1 0 0,0 0 0,-1 0 0,0 0 0,0 0 0,-1 1 0,-1 0 0,0 0 0,0 0 0,-1 1 0,0 0 0,0 0 0,-11-8 0,17 16 0,1 0 0,-1 0 0,0 1 0,0-1 0,0 0 0,0 1 0,0-1 0,0 1 0,0-1 0,0 1 0,0-1 0,0 1 0,0 0 0,0 0 0,0 0 0,0-1 0,0 1 0,-1 0 0,1 0 0,0 0 0,0 1 0,0-1 0,0 0 0,0 0 0,0 0 0,0 1 0,0-1 0,-2 1 0,2 1 0,-1-1 0,1 1 0,-1 0 0,1-1 0,0 1 0,0 0 0,0 0 0,0 0 0,0 0 0,0 0 0,0 0 0,0 0 0,0 3 0,-1 7 0,0-1 0,1 0 0,0 1 0,2 15 0,0-5 0,2 0 0,1-1 0,0 1 0,2-1 0,0 0 0,2-1 0,0 1 0,15 24 0,-23-43 0,1-1 0,0 1 0,0-1 0,0 1 0,0-1 0,0 0 0,0 1 0,0-1 0,0 0 0,1 1 0,-1-1 0,0 0 0,1 0 0,-1 0 0,1 0 0,0-1 0,-1 1 0,1 0 0,-1-1 0,1 1 0,0-1 0,0 1 0,-1-1 0,1 0 0,0 0 0,0 0 0,-1 0 0,1 0 0,0 0 0,0 0 0,-1 0 0,1-1 0,0 1 0,-1-1 0,1 1 0,0-1 0,-1 0 0,1 0 0,-1 0 0,1 0 0,-1 0 0,1 0 0,-1 0 0,0 0 0,0 0 0,3-3 0,-2 1 0,1 0 0,-1 0 0,0 0 0,0-1 0,0 1 0,0 0 0,0-1 0,-1 0 0,1 1 0,-1-1 0,0 0 0,0 0 0,-1 1 0,1-1 0,-1 0 0,0 0 0,0 0 0,0 0 0,0 0 0,-2-6 0,2 9 0,0 1 0,-1-1 0,1 0 0,0 1 0,0-1 0,0 1 0,-1-1 0,1 1 0,0-1 0,0 0 0,-1 1 0,1-1 0,-1 1 0,1-1 0,0 1 0,-1 0 0,1-1 0,-1 1 0,1-1 0,-1 1 0,1 0 0,-1 0 0,0-1 0,1 1 0,-1 0 0,1 0 0,-1-1 0,0 1 0,1 0 0,-1 0 0,1 0 0,-1 0 0,0 0 0,1 0 0,-1 0 0,0 0 0,1 0 0,-1 0 0,0 1 0,-1 0 0,0 0 0,0 0 0,0 0 0,1 1 0,-1-1 0,1 0 0,-1 1 0,1-1 0,-1 1 0,1 0 0,0-1 0,-2 4 0,2-4 0,0 1 0,0 0 0,0 0 0,1-1 0,-1 1 0,0 0 0,1 0 0,0 0 0,-1 0 0,1 0 0,0 0 0,0 0 0,0 2 0,0-3 0,0 0 0,0 0 0,1-1 0,-1 1 0,0 0 0,1-1 0,-1 1 0,1 0 0,-1-1 0,1 1 0,-1-1 0,1 1 0,-1 0 0,1-1 0,-1 1 0,1-1 0,0 0 0,-1 1 0,1-1 0,0 0 0,-1 1 0,1-1 0,0 0 0,-1 0 0,1 1 0,0-1 0,0 0 0,-1 0 0,1 0 0,0 0 0,0 0 0,0 0 0,-1 0 0,1 0 0,1-1 0,1 0 0,0 0 0,0 0 0,0 0 0,-1-1 0,1 1 0,0-1 0,-1 0 0,1 1 0,-1-1 0,0 0 0,0-1 0,1 1 0,-1 0 0,-1-1 0,1 1 0,0-1 0,-1 1 0,1-1 0,-1 0 0,0 0 0,2-4 0,2-6 0,-1 0 0,0 0 0,4-21 0,-8 31 0,1 1 0,-1-1 0,1 1 0,-1-1 0,0 0 0,0 1 0,0-1 0,-1 0 0,1 1 0,-1-1 0,1 0 0,-1 1 0,0-1 0,0 1 0,0-1 0,0 1 0,0 0 0,-1-1 0,1 1 0,-3-3 0,2 4 0,0 0 0,0 0 0,0 0 0,0 0 0,0 0 0,0 0 0,0 1 0,0-1 0,0 1 0,0 0 0,0 0 0,-1-1 0,1 1 0,0 0 0,0 1 0,0-1 0,0 0 0,0 1 0,0-1 0,-1 1 0,1 0 0,0-1 0,0 1 0,1 0 0,-4 2 0,-3 1 0,0 1 0,0 0 0,1 0 0,0 0 0,0 1 0,0 0 0,1 0 0,0 1 0,0 0 0,1 0 0,-6 9 0,10-15 0,0 1 0,0-1 0,0 0 0,0 1 0,0-1 0,0 0 0,0 0 0,0 0 0,-1 1 0,1-1 0,-1-1 0,1 1 0,-3 1 0,4-2 0,-1 0 0,1 0 0,-1 1 0,1-2 0,-1 1 0,1 0 0,-1 0 0,1 0 0,-1 0 0,1 0 0,-1 0 0,1 0 0,0-1 0,-1 1 0,1 0 0,-1 0 0,1-1 0,-1 1 0,1 0 0,0 0 0,-1-1 0,1 1 0,0-1 0,-1 1 0,1 0 0,0-1 0,0 1 0,-1-1 0,1 0 0,-13-45 0,9 25 0,4 21 0,0 0 0,0-1 0,0 1 0,0 0 0,0 0 0,0 0 0,0 0 0,0 0 0,0-1 0,-1 1 0,1 0 0,0 0 0,0 0 0,0 0 0,0 0 0,0 0 0,0-1 0,0 1 0,-1 0 0,1 0 0,0 0 0,0 0 0,0 0 0,0 0 0,0 0 0,-1 0 0,1 0 0,0 0 0,0 0 0,0 0 0,0 0 0,0 0 0,-1 0 0,1 0 0,0 0 0,0 0 0,0 0 0,0 0 0,-1 0 0,1 0 0,0 0 0,0 0 0,0 0 0,0 0 0,0 0 0,-1 0 0,1 0 0,0 0 0,0 0 0,0 1 0,0-1 0,0 0 0,0 0 0,0 0 0,-1 0 0,1 0 0,0 0 0,0 0 0,0 1 0,0-1 0,0 0 0,0 0 0,0 0 0,0 0 0,0 1 0,0-1 0,0 0 0,0 0 0,0 0 0,-10 22 0,-3 24 0,10-30 0,-2 8 0,12-41 0,-5 13-80,0-1 0,0 1-1,0 0 1,0 0 0,1 0-1,-1 0 1,1 0 0,0 1-1,0-1 1,1 1 0,-1 0 0,1 0-1,-1 0 1,1 0 0,0 1-1,5-3 1,3-3-6746</inkml:trace>
</inkml:ink>
</file>

<file path=ppt/ink/ink2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10:52.848"/>
    </inkml:context>
    <inkml:brush xml:id="br0">
      <inkml:brushProperty name="width" value="0.035" units="cm"/>
      <inkml:brushProperty name="height" value="0.035" units="cm"/>
      <inkml:brushProperty name="color" value="#E71224"/>
    </inkml:brush>
  </inkml:definitions>
  <inkml:trace contextRef="#ctx0" brushRef="#br0">29 25 24575,'-1'71'0,"3"80"0,-2-149 0,0 0 0,1 0 0,-1 0 0,1 0 0,-1-1 0,1 1 0,0 0 0,0 0 0,0 0 0,0 0 0,0-1 0,0 1 0,0 0 0,0-1 0,1 1 0,-1-1 0,1 0 0,-1 1 0,1-1 0,2 2 0,1-1 0,-1 0 0,1 0 0,-1 0 0,1-1 0,0 0 0,0 0 0,0 0 0,6 0 0,6-1 0,1 0 0,-1-1 0,33-7 0,-42 7 0,0-1 0,-1 0 0,1 0 0,-1-1 0,1 0 0,-1-1 0,0 1 0,0-2 0,-1 1 0,1 0 0,-1-1 0,0 0 0,0-1 0,-1 0 0,1 1 0,5-9 0,-11 12 0,1 0 0,-1 0 0,1 0 0,-1 1 0,0-1 0,1 0 0,-1 0 0,0 0 0,0 0 0,0 0 0,-1 1 0,1-1 0,0 0 0,-1 0 0,1 0 0,-1 1 0,0-1 0,1 0 0,-1 0 0,0 1 0,0-1 0,0 1 0,0-1 0,0 1 0,-1-1 0,1 1 0,0 0 0,-1-1 0,1 1 0,-1 0 0,1 0 0,-1 0 0,1 0 0,-1 0 0,-2 0 0,-9-6 0,0 1 0,-1 1 0,-20-6 0,20 6 0,-27-15 0,34 15 0,0 1 0,0 0 0,-1 1 0,1 0 0,-1 0 0,-10-2 0,16 5 0,0-1 0,0 1 0,0 0 0,0 1 0,0-1 0,0 0 0,1 1 0,-1-1 0,0 1 0,0-1 0,0 1 0,1 0 0,-1-1 0,0 1 0,1 0 0,-1 0 0,1 1 0,-1-1 0,1 0 0,-1 0 0,1 1 0,0-1 0,0 1 0,0-1 0,-1 1 0,2-1 0,-1 1 0,0 0 0,0-1 0,0 1 0,1 0 0,-1 2 0,-4 10 0,0-1 0,1 1 0,1 0 0,0 1 0,1-1 0,0 24 0,2-35 0,-1 0 0,1 0 0,1 0 0,-1 0 0,0 0 0,1 0 0,-1 0 0,1 0 0,0 0 0,0 0 0,0 0 0,0 0 0,1-1 0,-1 1 0,1-1 0,-1 1 0,1-1 0,0 1 0,0-1 0,0 0 0,1 0 0,-1 0 0,0 0 0,1 0 0,-1-1 0,1 1 0,-1-1 0,1 1 0,0-1 0,0 0 0,0 0 0,0 0 0,0-1 0,-1 1 0,1-1 0,0 0 0,0 1 0,6-2 0,-3 0 0,-1 0 0,1 0 0,-1-1 0,0 0 0,0 0 0,0 0 0,0-1 0,0 0 0,0 0 0,0 0 0,-1 0 0,0-1 0,1 0 0,-1 1 0,-1-2 0,1 1 0,-1 0 0,1-1 0,-1 0 0,4-8 0,0 1 0,-1-1 0,0 0 0,-1 0 0,0 0 0,-1 0 0,0-1 0,1-18 0,-4 28 0,-1 0 0,0-1 0,-1 1 0,1 0 0,-1 0 0,0 0 0,0 0 0,0 0 0,-1 0 0,1 0 0,-1 0 0,0 1 0,0-1 0,0 1 0,0-1 0,-1 1 0,0 0 0,1-1 0,-1 1 0,0 1 0,-1-1 0,1 0 0,0 1 0,-1 0 0,1 0 0,-1 0 0,0 0 0,0 0 0,-6-1 0,1 0 0,1 0 0,-1 1 0,1 0 0,-1 1 0,0 0 0,0 0 0,0 1 0,0 0 0,0 0 0,1 1 0,-1 0 0,0 1 0,-10 3 0,15-3 0,1 0 0,0 0 0,1 0 0,-1 0 0,0 0 0,0 1 0,1-1 0,0 1 0,-1 0 0,1 0 0,0 0 0,0 0 0,1 0 0,-1 0 0,1 0 0,-1 1 0,1-1 0,0 1 0,0-1 0,1 1 0,-1-1 0,1 1 0,-1 5 0,0 8 0,1 1 0,0-1 0,4 25 0,-3-40 0,-1 1 0,0-1 0,0 0 0,1 0 0,0 0 0,-1 1 0,1-1 0,0 0 0,0 0 0,0 0 0,0 0 0,0 0 0,1-1 0,-1 1 0,1 0 0,-1 0 0,1-1 0,-1 1 0,1-1 0,0 0 0,0 1 0,0-1 0,0 0 0,0 0 0,0 0 0,0 0 0,0-1 0,0 1 0,0 0 0,0-1 0,1 1 0,-1-1 0,0 0 0,0 0 0,1 0 0,-1 0 0,0 0 0,0-1 0,0 1 0,3-1 0,2-1 0,0 0 0,0 0 0,0 0 0,0-1 0,-1 0 0,1 0 0,-1-1 0,0 0 0,0 0 0,0 0 0,7-8 0,33-53 0,-62 120 0,15-52 0,0 1 0,1-1 0,-1 0 0,1 1 0,0-1 0,0 1 0,0-1 0,1 1 0,-1-1 0,1 0 0,0 1 0,0-1 0,0 0 0,2 4 0,1-7 0,-1-11 0,-2-12 0,-2 19 0,-2 1 0,1-1 0,0 1 0,-1 0 0,1 0 0,-1 0 0,0 0 0,0 1 0,0-1 0,0 1 0,0 0 0,-1 0 0,1 0 0,-1 0 0,1 0 0,-1 1 0,0-1 0,0 1 0,0 0 0,0 1 0,1-1 0,-1 1 0,-7-1 0,8 1 0,0 0 0,-1 0 0,1 0 0,0 1 0,0-1 0,-1 1 0,1-1 0,0 1 0,0 0 0,0 1 0,0-1 0,-5 3 0,6-3 0,1 0 0,0 1 0,-1-1 0,1 0 0,0 1 0,0-1 0,0 1 0,0-1 0,0 1 0,0-1 0,0 1 0,0 0 0,1-1 0,-1 1 0,0 0 0,1 0 0,0 0 0,-1-1 0,1 1 0,0 0 0,0 0 0,0 0 0,1 2 0,-1-3-27,0-1 0,0 1-1,0-1 1,0 1 0,0 0-1,0-1 1,0 1 0,0-1 0,0 1-1,1-1 1,-1 1 0,0-1-1,0 1 1,1-1 0,-1 1-1,0-1 1,1 0 0,-1 1-1,1-1 1,-1 1 0,0-1 0,1 0-1,-1 1 1,1-1 0,-1 0-1,1 0 1,-1 1 0,1-1-1,-1 0 1,1 0 0,-1 0-1,1 0 1,0 0 0,-1 1 0,1-1-1,-1 0 1,1 0 0,-1 0-1,1 0 1,-1-1 0,1 1-1,0 0 1,-1 0 0,1 0-1,-1 0 1,1-1 0,-1 1 0,1 0-1,0-1 1,7-4-6799</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49.670"/>
    </inkml:context>
    <inkml:brush xml:id="br0">
      <inkml:brushProperty name="width" value="0.035" units="cm"/>
      <inkml:brushProperty name="height" value="0.035" units="cm"/>
      <inkml:brushProperty name="color" value="#E71224"/>
    </inkml:brush>
  </inkml:definitions>
  <inkml:trace contextRef="#ctx0" brushRef="#br0">28 3 24575,'29'-1'0,"-14"0"0,0 1 0,0 0 0,0 1 0,0 0 0,28 8 0,-40-8 0,0 0 0,0 0 0,-1 0 0,1 1 0,0-1 0,-1 1 0,1 0 0,-1-1 0,0 1 0,1 1 0,-1-1 0,0 0 0,0 0 0,-1 1 0,1-1 0,0 1 0,-1-1 0,1 1 0,-1 0 0,0 0 0,0 0 0,0 0 0,0-1 0,-1 1 0,1 0 0,-1 0 0,0 0 0,0 0 0,0 1 0,0-1 0,0 0 0,-1 0 0,1 0 0,-1-1 0,-1 5 0,0 0 0,0 0 0,0 0 0,-1 0 0,1-1 0,-2 1 0,1-1 0,-1 0 0,0 0 0,0 0 0,0 0 0,-9 7 0,-5 4 0,-1-1 0,-22 14 0,26-19 0,0 0 0,0 1 0,1 0 0,-16 19 0,30-30 0,-1-1 0,1 1 0,-1-1 0,1 1 0,-1-1 0,1 1 0,0 0 0,-1-1 0,1 1 0,0 0 0,-1-1 0,1 1 0,0 0 0,0 0 0,0-1 0,0 1 0,0 0 0,0-1 0,0 1 0,0 0 0,0 0 0,0-1 0,0 1 0,0 0 0,1-1 0,-1 1 0,0 0 0,0-1 0,1 1 0,-1 0 0,0-1 0,1 2 0,24 12 0,36-1 0,54-10-1365,-95-3-5461</inkml:trace>
</inkml:ink>
</file>

<file path=ppt/ink/ink2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11:06.133"/>
    </inkml:context>
    <inkml:brush xml:id="br0">
      <inkml:brushProperty name="width" value="0.035" units="cm"/>
      <inkml:brushProperty name="height" value="0.035" units="cm"/>
      <inkml:brushProperty name="color" value="#E71224"/>
    </inkml:brush>
  </inkml:definitions>
  <inkml:trace contextRef="#ctx0" brushRef="#br0">50 93 24575,'-1'23'0,"3"47"0,-2-67 0,0 0 0,1 0 0,-1 0 0,1 0 0,0 0 0,0-1 0,0 1 0,0 0 0,0-1 0,1 1 0,-1-1 0,1 1 0,-1-1 0,1 0 0,0 1 0,0-1 0,0 0 0,1 0 0,2 2 0,-4-4 0,1 0 0,0 1 0,0-1 0,0 0 0,-1 0 0,1 0 0,0 0 0,0-1 0,-1 1 0,1 0 0,0-1 0,0 1 0,-1-1 0,1 1 0,0-1 0,-1 0 0,1 0 0,-1 0 0,1 0 0,-1 0 0,1 0 0,-1 0 0,0-1 0,1 1 0,-1 0 0,0-1 0,0 1 0,0-1 0,0 1 0,0-1 0,0-2 0,28-52 0,-11 17 0,-13 32 0,-2-1 0,1 1 0,-1-1 0,0 0 0,0 0 0,3-17 0,-6 24 0,0-1 0,0 1 0,0-1 0,-1 1 0,1-1 0,0 1 0,-1-1 0,1 1 0,0-1 0,-1 1 0,0 0 0,1-1 0,-1 1 0,0-1 0,0 1 0,0 0 0,-1-2 0,-1 1 0,1 0 0,0 1 0,-1-1 0,1 1 0,-1-1 0,0 1 0,0 0 0,1 0 0,-1 0 0,0 1 0,0-1 0,-4 0 0,2 0 0,-1 0 0,0 0 0,1 1 0,-1 0 0,0 0 0,1 0 0,-1 1 0,0 0 0,1 0 0,-1 0 0,1 1 0,-1-1 0,1 1 0,0 1 0,0-1 0,0 1 0,-9 6 0,10-5 0,0 1 0,0-1 0,0 1 0,1 0 0,0 0 0,0 0 0,0 0 0,0 1 0,1-1 0,0 1 0,0-1 0,1 1 0,-1 0 0,1 0 0,0 0 0,1 0 0,-1 6 0,1 1 0,-1 1 0,0 0 0,1 0 0,1-1 0,4 28 0,-4-38 0,-1 0 0,1 0 0,0 0 0,0-1 0,0 1 0,1 0 0,-1-1 0,1 1 0,0-1 0,-1 1 0,1-1 0,0 0 0,0 0 0,1 1 0,-1-2 0,0 1 0,1 0 0,-1 0 0,1-1 0,-1 1 0,1-1 0,0 0 0,0 0 0,-1 0 0,1 0 0,0-1 0,0 1 0,5 0 0,2 0 0,0 0 0,0-1 0,-1 0 0,1 0 0,0-1 0,0-1 0,-1 1 0,1-2 0,-1 1 0,1-1 0,-1-1 0,9-4 0,-13 5 0,0 0 0,0-1 0,-1 0 0,1 0 0,-1 0 0,0-1 0,0 1 0,-1-1 0,1 0 0,-1 0 0,0 0 0,0 0 0,-1 0 0,0-1 0,0 0 0,0 1 0,0-1 0,-1 0 0,0 0 0,0 1 0,-1-8 0,1 10 0,-1-1 0,1 1 0,-1 0 0,0 0 0,-1 0 0,1 0 0,0 0 0,-1 0 0,0 0 0,0 0 0,0 0 0,0 0 0,0 0 0,0 0 0,-1 1 0,1-1 0,-1 0 0,0 1 0,0-1 0,0 1 0,0 0 0,0 0 0,0 0 0,-1 0 0,1 0 0,-1 0 0,0 0 0,1 1 0,-1 0 0,0-1 0,0 1 0,0 0 0,0 0 0,0 0 0,-5 0 0,3 1 0,0-1 0,1 1 0,-1 0 0,0 0 0,0 1 0,0 0 0,0 0 0,1 0 0,-1 0 0,0 1 0,1-1 0,-1 1 0,1 1 0,-1-1 0,1 0 0,0 1 0,0 0 0,0 0 0,1 0 0,-1 1 0,1-1 0,-5 6 0,4-3 0,-1 0 0,1 1 0,0-1 0,1 1 0,-1 0 0,1 0 0,1 0 0,-1 0 0,1 0 0,-1 12 0,3-15 0,0-1 0,0 0 0,1 0 0,-1 0 0,1 1 0,0-1 0,0 0 0,0 0 0,0 0 0,1 0 0,-1 0 0,1-1 0,0 1 0,0 0 0,0-1 0,0 1 0,0-1 0,0 1 0,1-1 0,-1 0 0,1 0 0,0 0 0,-1-1 0,1 1 0,0-1 0,5 3 0,12 4-1365,-2-3-5461</inkml:trace>
</inkml:ink>
</file>

<file path=ppt/ink/ink2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2:40.348"/>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0 1,'182'11,"-18"0,-76-6,170 34,-172-22,1-4,93 2,835-16,-835-10,2-1,-61 13,120-2,-197-2,0-2,0-2,60-17,-94 21</inkml:trace>
</inkml:ink>
</file>

<file path=ppt/ink/ink2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2:52.497"/>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0 135,'231'2,"247"-4,-294-9,67-1,-197 9,0-3,80-18,-70 11,72-5,85-3,142-5,-214 25,146 4,-257 1,58 14,29 3,810 1,-737-44,-128 11,98-1,-121 12,10 0,68-7,-95 2</inkml:trace>
</inkml:ink>
</file>

<file path=ppt/ink/ink2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3:10.205"/>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1 1,'2'2,"0"1,0 0,0-1,0 1,1-1,-1 0,1 0,0 0,0 0,0 0,0-1,0 1,0-1,0 0,0 0,0 0,6 1,61 6,-59-7,207 19,176 6,2251-27,-2092-10,51 0,-561 11</inkml:trace>
</inkml:ink>
</file>

<file path=ppt/ink/ink2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3:13:58.517"/>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0 51,'11'-1,"0"-1,0 0,-1 0,21-8,7-2,17 3,1 3,0 2,1 2,65 7,-85-4,70 9,133 27,-95-11,135 13,549 4,-800-45,-1-2,1-1,51-16,-44 11,54-8,34 7,54-7,-56 2,163-1,-182 14,-61 1,520-5,-528 11,0 2,-1 0,0 3,0 0,31 15,-33-12,-1-1,1-2,1-1,0-1,49 3,-75-10,0 0,0 0,0-1,-1 0,1 0,0 0,0-1,-1 0,1 0,-1 0,6-4,2-3,0 0,21-21,-32 29,11-11</inkml:trace>
</inkml:ink>
</file>

<file path=ppt/ink/ink2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14:39.605"/>
    </inkml:context>
    <inkml:brush xml:id="br0">
      <inkml:brushProperty name="width" value="0.035" units="cm"/>
      <inkml:brushProperty name="height" value="0.035" units="cm"/>
      <inkml:brushProperty name="color" value="#E71224"/>
    </inkml:brush>
  </inkml:definitions>
  <inkml:trace contextRef="#ctx0" brushRef="#br0">363 18 24575,'-78'-9'0,"59"6"0,1 0 0,-29 0 0,41 3 0,0 1 0,0 0 0,0 0 0,0 0 0,0 0 0,0 1 0,0 0 0,0 0 0,1 1 0,-1 0 0,-8 5 0,6-2 0,1 0 0,0 0 0,1 1 0,-1 0 0,1 0 0,0 1 0,1 0 0,0 0 0,0 0 0,1 0 0,-1 1 0,-2 11 0,-2 9 0,1 1 0,-5 45 0,12-71 0,-4 31 0,-2 57 0,7-90 0,0 0 0,1 0 0,-1 0 0,1 0 0,0 0 0,0 0 0,-1 0 0,1 0 0,0-1 0,1 1 0,-1 0 0,0-1 0,0 1 0,1-1 0,-1 1 0,1-1 0,-1 0 0,1 1 0,0-1 0,3 2 0,48 21 0,-15-7 0,-16-4 0,0-1 0,1-1 0,0-2 0,1 0 0,0-1 0,0-1 0,44 6 0,4-6 0,98-3 0,-25-2 0,-19 8 0,34 2 0,-85-11 0,105 15 0,-42 6 0,1-6 0,1-7 0,170-8 0,-289-3 0,0-1 0,0 0 0,0-1 0,-1-2 0,1 0 0,-1-1 0,-1-1 0,1-1 0,-1 0 0,31-22 0,-45 26 0,-1 1 0,0-1 0,0 0 0,0 0 0,0-1 0,-1 1 0,0-1 0,0 1 0,2-11 0,16-61 0,0 1 0,-17 64 0,-1 0 0,0 0 0,-1 0 0,0 0 0,-1 0 0,-1 0 0,0-1 0,-1 1 0,0 0 0,0 0 0,-1-1 0,-1 1 0,0 1 0,-1-1 0,-6-12 0,8 19 0,0 1 0,-1 0 0,0 0 0,0 0 0,0 0 0,-1 1 0,1-1 0,-1 1 0,0 0 0,0 0 0,0 0 0,0 0 0,-1 1 0,1 0 0,-1 0 0,1 0 0,-1 0 0,0 1 0,1-1 0,-11 0 0,-9-1 0,0 1 0,0 0 0,-24 3 0,26 0 0,-118 0 0,-266 12 0,-7 13 0,112-20 0,205-7 0,80 0 19,0-1 0,0-1 0,0-1 0,1 0 0,-1 0 0,-21-11 0,19 7-393,0 2-1,-1 0 1,-34-6-1,32 10-6451</inkml:trace>
</inkml:ink>
</file>

<file path=ppt/ink/ink2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14:57.475"/>
    </inkml:context>
    <inkml:brush xml:id="br0">
      <inkml:brushProperty name="width" value="0.035" units="cm"/>
      <inkml:brushProperty name="height" value="0.035" units="cm"/>
      <inkml:brushProperty name="color" value="#E71224"/>
    </inkml:brush>
  </inkml:definitions>
  <inkml:trace contextRef="#ctx0" brushRef="#br0">225 125 24575,'0'5'0,"-1"0"0,0 1 0,0-1 0,-1 0 0,0 0 0,1 0 0,-2 0 0,1 0 0,-6 8 0,5-8 0,0 1 0,0 0 0,0 1 0,0-1 0,1 0 0,-2 10 0,3-14 0,1 0 0,-1 0 0,1 0 0,-1 0 0,1 0 0,0 0 0,0 0 0,0 0 0,0 0 0,0 0 0,0 0 0,1 0 0,-1 0 0,1 0 0,-1 0 0,1 0 0,0-1 0,0 1 0,0 0 0,0 0 0,0-1 0,0 1 0,0 0 0,0-1 0,1 1 0,-1-1 0,1 0 0,-1 1 0,1-1 0,-1 0 0,1 0 0,0 0 0,0 0 0,-1 0 0,1-1 0,0 1 0,0 0 0,0-1 0,2 1 0,0-1 0,-1 0 0,1 0 0,-1-1 0,1 1 0,-1-1 0,1 0 0,-1 0 0,1 0 0,-1-1 0,0 1 0,1-1 0,-1 0 0,0 0 0,0 0 0,0 0 0,-1 0 0,1-1 0,0 1 0,-1-1 0,1 1 0,2-5 0,-1-2 0,1 0 0,-1 0 0,-1-1 0,0 1 0,0-1 0,-1 0 0,0 0 0,0 0 0,-1 0 0,-1 0 0,0 0 0,0 0 0,-1 0 0,0 0 0,0 0 0,-1 1 0,-1-1 0,-3-10 0,4 18 0,0-1 0,0 0 0,0 1 0,0-1 0,-1 1 0,1-1 0,-1 1 0,1 0 0,-1 0 0,0 0 0,0 1 0,0-1 0,0 1 0,0-1 0,0 1 0,0 0 0,-5-1 0,-63-9 0,45 8 0,-2-3 0,16 3 0,1 1 0,0 0 0,-1 0 0,1 1 0,-18 1 0,27 0 0,1 0 0,0 0 0,0 1 0,-1-1 0,1 0 0,0 1 0,0-1 0,0 1 0,-1-1 0,1 1 0,0 0 0,0-1 0,0 1 0,0 0 0,0 0 0,0 0 0,1 0 0,-1-1 0,0 1 0,0 0 0,0 1 0,0 0 0,0 1 0,1-1 0,0 1 0,-1-1 0,1 1 0,0-1 0,0 1 0,1-1 0,-1 1 0,0-1 0,1 1 0,0-1 0,-1 1 0,1-1 0,0 1 0,2 3 0,3 5 0,1 0 0,0 0 0,0 0 0,1-1 0,1 0 0,-1 0 0,2-1 0,-1 0 0,1-1 0,0 0 0,1-1 0,0 0 0,0 0 0,1-1 0,19 7 0,-28-12 0,-1-1 0,0 1 0,1-1 0,-1 1 0,0-1 0,1 0 0,-1 0 0,0 0 0,1 0 0,-1-1 0,0 1 0,1 0 0,-1-1 0,0 0 0,0 1 0,1-1 0,-1 0 0,0 0 0,0-1 0,0 1 0,0 0 0,0 0 0,0-1 0,-1 0 0,1 1 0,0-1 0,-1 0 0,1 0 0,-1 1 0,0-1 0,0 0 0,1-1 0,-1 1 0,0 0 0,-1 0 0,1 0 0,0-1 0,-1 1 0,1 0 0,-1 0 0,0-1 0,0 1 0,0 0 0,0-4 0,0 4 0,0-1 0,0 1 0,0 0 0,0 0 0,-1 0 0,1 0 0,0 0 0,-1 0 0,0 0 0,0 0 0,1 0 0,-1 0 0,0 0 0,-1 0 0,1 1 0,0-1 0,0 0 0,-1 1 0,1-1 0,-1 1 0,1-1 0,-1 1 0,0 0 0,0 0 0,1-1 0,-1 1 0,0 1 0,0-1 0,0 0 0,0 0 0,0 1 0,0-1 0,0 1 0,0-1 0,-1 1 0,1 0 0,0 0 0,0 0 0,0 0 0,0 1 0,0-1 0,0 0 0,0 1 0,0 0 0,0-1 0,0 1 0,0 0 0,0 0 0,0 0 0,-2 2 0,-5 2 0,0 1 0,0 0 0,1 0 0,-1 1 0,2 0 0,-1 1 0,1 0 0,0 0 0,1 0 0,0 1 0,0 0 0,1 0 0,-5 12 0,-1 1 0,2 1 0,0 1 0,2-1 0,-8 39 0,14-58 0,1 1 0,-1-1 0,1 0 0,0 1 0,0-1 0,0 1 0,0-1 0,1 1 0,-1-1 0,1 0 0,1 1 0,-1-1 0,1 0 0,-1 0 0,1 0 0,0 0 0,4 6 0,-4-8 0,0 0 0,0-1 0,1 1 0,-1-1 0,0 1 0,1-1 0,-1 0 0,1 1 0,0-2 0,-1 1 0,1 0 0,0 0 0,-1-1 0,1 1 0,0-1 0,0 0 0,-1 0 0,1 0 0,0 0 0,0 0 0,-1-1 0,1 1 0,0-1 0,-1 0 0,1 0 0,0 0 0,-1 0 0,1 0 0,2-3 0,5-1 0,-1-1 0,0-1 0,0 0 0,-1 0 0,1-1 0,-2 0 0,1 0 0,-1-1 0,0 1 0,-1-2 0,0 1 0,-1-1 0,8-18 0,-7 15 0,0-2 0,-1 1 0,0-1 0,-2 1 0,0-1 0,0 0 0,-1 0 0,-1-1 0,-1-25 0,-1 36 0,-1-1 0,0 0 0,1 1 0,-2-1 0,1 1 0,0 0 0,-1 0 0,0 0 0,-1 0 0,1 0 0,-1 1 0,0-1 0,0 1 0,0 0 0,0 0 0,-1 1 0,1-1 0,-1 1 0,0 0 0,0 0 0,-1 1 0,1-1 0,0 1 0,-1 1 0,0-1 0,1 1 0,-1-1 0,0 2 0,-8-1 0,9 0 0,0 0 0,0 1 0,-1 0 0,1 0 0,0 0 0,0 0 0,-1 1 0,1 0 0,0 0 0,0 1 0,0-1 0,0 1 0,0 0 0,1 1 0,-1-1 0,0 1 0,1 0 0,0 0 0,0 0 0,0 0 0,0 1 0,0 0 0,1 0 0,-1 0 0,1 0 0,0 0 0,0 1 0,1-1 0,-1 1 0,1 0 0,0 0 0,-1 5 0,2-5 0,0-1 0,0 0 0,0 1 0,1-1 0,-1 1 0,1-1 0,0 0 0,1 1 0,-1-1 0,1 1 0,0-1 0,0 0 0,0 0 0,1 1 0,-1-1 0,1 0 0,4 7 0,-3-8 0,0 0 0,0 0 0,0-1 0,1 1 0,-1 0 0,1-1 0,-1 0 0,1 0 0,0 0 0,0-1 0,0 1 0,0-1 0,0 0 0,0 0 0,0 0 0,0 0 0,0-1 0,8 0 0,28 2 0,62-6 0,-89 2 0,1 1 0,-1-2 0,1 0 0,-1-1 0,0 0 0,0-1 0,0 0 0,14-9 0,-25 13 0,0 0 0,-1 0 0,1 0 0,0-1 0,0 1 0,-1 0 0,1-1 0,-1 1 0,1-1 0,-1 1 0,0-1 0,0 0 0,0 0 0,0 1 0,0-1 0,0 0 0,0 0 0,0 0 0,-1 0 0,1-2 0,-1 2 0,0 0 0,0 0 0,-1 1 0,1-1 0,-1 0 0,1 1 0,-1-1 0,0 0 0,1 1 0,-1-1 0,0 1 0,0-1 0,0 1 0,0-1 0,-1 1 0,1 0 0,0 0 0,-3-2 0,-3-3 0,-1 1 0,0 0 0,-1 0 0,1 1 0,-1 0 0,0 1 0,-12-4 0,14 6 0,0-1 0,0 1 0,0 1 0,0-1 0,0 1 0,0 0 0,0 1 0,0 0 0,0 0 0,0 0 0,0 1 0,0 0 0,-8 3 0,13-4 0,-1 1 0,1-1 0,0 1 0,-1-1 0,1 1 0,0 0 0,0-1 0,0 1 0,0 0 0,0 1 0,0-1 0,1 0 0,-1 0 0,1 1 0,-1-1 0,1 1 0,0-1 0,0 1 0,0 0 0,1-1 0,-1 1 0,0 0 0,1 0 0,0-1 0,0 1 0,0 0 0,0 0 0,0 0 0,0-1 0,1 1 0,-1 0 0,1 0 0,0-1 0,0 1 0,1 3 0,0-2 0,-1 0 0,1 0 0,0 0 0,0 0 0,0 0 0,0-1 0,1 1 0,-1-1 0,1 1 0,0-1 0,0 0 0,1 0 0,-1 0 0,0 0 0,6 2 0,-7-4 0,0 0 0,0-1 0,0 1 0,0-1 0,0 0 0,0 0 0,0 0 0,0 0 0,0 0 0,0 0 0,0 0 0,0 0 0,0-1 0,0 1 0,-1-1 0,1 0 0,0 1 0,0-1 0,0 0 0,-1 0 0,1 0 0,0 0 0,-1 0 0,1-1 0,-1 1 0,1 0 0,-1-1 0,0 1 0,1-1 0,-1 0 0,0 1 0,0-1 0,0 0 0,0 0 0,0-2 0,4-6 0,0-1 0,-1 0 0,-1-1 0,1 1 0,-2-1 0,0 1 0,0-1 0,-1 0 0,-1 0 0,0 0 0,-2-21 0,1 31 0,0-1 0,0 0 0,0 1 0,0-1 0,-1 0 0,1 1 0,-1 0 0,1-1 0,-1 1 0,0 0 0,0 0 0,0 0 0,0 0 0,0 0 0,-1 0 0,1 0 0,0 1 0,-1-1 0,1 1 0,-1 0 0,0 0 0,1 0 0,-1 0 0,0 0 0,0 1 0,0-1 0,1 1 0,-1 0 0,0 0 0,0 0 0,0 0 0,-3 0 0,2 0 0,1 0 0,-1 0 0,0 0 0,1 1 0,-1-1 0,1 1 0,-1 0 0,1 0 0,-1 0 0,1 1 0,0-1 0,-1 1 0,1-1 0,0 1 0,0 0 0,0 0 0,0 1 0,0-1 0,1 1 0,-1-1 0,1 1 0,0 0 0,0 0 0,0 0 0,-3 5 0,1 12-1365,2-1-5461</inkml:trace>
</inkml:ink>
</file>

<file path=ppt/ink/ink2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01:01.924"/>
    </inkml:context>
    <inkml:brush xml:id="br0">
      <inkml:brushProperty name="width" value="0.035" units="cm"/>
      <inkml:brushProperty name="height" value="0.035" units="cm"/>
      <inkml:brushProperty name="color" value="#E71224"/>
    </inkml:brush>
  </inkml:definitions>
  <inkml:trace contextRef="#ctx0" brushRef="#br0">0 1 24575</inkml:trace>
</inkml:ink>
</file>

<file path=ppt/ink/ink2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46:12.261"/>
    </inkml:context>
    <inkml:brush xml:id="br0">
      <inkml:brushProperty name="width" value="0.035" units="cm"/>
      <inkml:brushProperty name="height" value="0.035" units="cm"/>
      <inkml:brushProperty name="color" value="#E71224"/>
    </inkml:brush>
  </inkml:definitions>
  <inkml:trace contextRef="#ctx0" brushRef="#br0">744 1 24575,'-535'0'0,"530"-1"0,1 1 0,-1 0 0,0 1 0,1-1 0,-1 1 0,1 0 0,-1 0 0,1 0 0,0 1 0,-1-1 0,1 1 0,0 0 0,0 0 0,0 1 0,0-1 0,-4 5 0,5-4 0,0 1 0,0 0 0,1 0 0,-1 1 0,1-1 0,0 0 0,0 1 0,1-1 0,-1 1 0,1 0 0,0 0 0,0-1 0,1 1 0,-1 0 0,1 6 0,0 55 0,0-30 0,-2 0 0,-6 43 0,1-26 0,2 0 0,4 77 0,2-78 0,-2 0 0,-13 85 0,-1-12 0,13-90 0,-2 1 0,-14 58 0,8-44 0,2 0 0,2 0 0,2 0 0,6 101 0,0-51 0,0-60 0,10 53 0,1 33 0,-12-65 0,-2-19 0,2 0 0,2 0 0,1 0 0,18 70 0,63 136 0,-71-198 0,13 75 0,-7-26 0,-9-55 0,-2 1 0,-2 0 0,3 73 0,-12-85 0,-11 58 0,7-55 0,-2 48 0,7-72 0,1 1 0,-2-1 0,0 1 0,-3 11 0,5-23 0,0-1 0,0 1 0,0 0 0,0-1 0,1 1 0,-1-1 0,0 1 0,0-1 0,1 1 0,-1-1 0,0 0 0,0 1 0,1-1 0,-1 1 0,1-1 0,-1 1 0,0-1 0,1 0 0,-1 1 0,1-1 0,-1 0 0,1 0 0,-1 1 0,1-1 0,-1 0 0,1 0 0,-1 0 0,1 0 0,-1 1 0,1-1 0,0 0 0,-1 0 0,1 0 0,-1 0 0,1 0 0,-1 0 0,1-1 0,-1 1 0,1 0 0,0 0 0,33-3 0,-27 3 0,63-5 0,-14 2 0,-1-3 0,66-15 0,-76 11 0,1 3 0,0 1 0,48 0 0,-80 4 0,-13-3 0,-24-9 0,-43-11 0,54 22-117,4 1 4,0 0-1,1 0 1,-1-1-1,1 0 1,0 0-1,0-1 1,0 0-1,1 0 1,-1-1-1,-6-6 1,3-2-6713</inkml:trace>
</inkml:ink>
</file>

<file path=ppt/ink/ink2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46:13.798"/>
    </inkml:context>
    <inkml:brush xml:id="br0">
      <inkml:brushProperty name="width" value="0.035" units="cm"/>
      <inkml:brushProperty name="height" value="0.035" units="cm"/>
      <inkml:brushProperty name="color" value="#E71224"/>
    </inkml:brush>
  </inkml:definitions>
  <inkml:trace contextRef="#ctx0" brushRef="#br0">218 1 24575,'-4'4'0,"-11"7"0,-3 5 0,-2 5 0,-3-2 0,-2 1 0,-5 2 0,-3-4 0,5 1 0,7-4-8191</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51.516"/>
    </inkml:context>
    <inkml:brush xml:id="br0">
      <inkml:brushProperty name="width" value="0.035" units="cm"/>
      <inkml:brushProperty name="height" value="0.035" units="cm"/>
      <inkml:brushProperty name="color" value="#E71224"/>
    </inkml:brush>
  </inkml:definitions>
  <inkml:trace contextRef="#ctx0" brushRef="#br0">1 0 24575,'1'24'0,"2"-1"0,0 1 0,13 41 0,-10-41 0,0 0 0,-2 0 0,3 34 0,2 17 64,-2-40-1493,-5-16-5397</inkml:trace>
</inkml:ink>
</file>

<file path=ppt/ink/ink2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26.346"/>
    </inkml:context>
    <inkml:brush xml:id="br0">
      <inkml:brushProperty name="width" value="0.025" units="cm"/>
      <inkml:brushProperty name="height" value="0.025" units="cm"/>
      <inkml:brushProperty name="color" value="#E71224"/>
    </inkml:brush>
  </inkml:definitions>
  <inkml:trace contextRef="#ctx0" brushRef="#br0">1 1 24575,'5'0'0,"1"0"-8191</inkml:trace>
</inkml:ink>
</file>

<file path=ppt/ink/ink2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33.461"/>
    </inkml:context>
    <inkml:brush xml:id="br0">
      <inkml:brushProperty name="width" value="0.025" units="cm"/>
      <inkml:brushProperty name="height" value="0.025" units="cm"/>
      <inkml:brushProperty name="color" value="#E71224"/>
    </inkml:brush>
  </inkml:definitions>
  <inkml:trace contextRef="#ctx0" brushRef="#br0">1 513 24575,'1'-1'0,"0"1"0,0-1 0,1 1 0,-1-1 0,0 1 0,0-1 0,0 0 0,0 0 0,0 0 0,0 1 0,0-1 0,0 0 0,0 0 0,-1 0 0,1 0 0,0 0 0,-1-1 0,1 1 0,0 0 0,-1 0 0,0 0 0,1-1 0,-1 1 0,0 0 0,1 0 0,-1-1 0,0-1 0,5-42 0,-5 40 0,14-112 0,-7 70 0,1-66 0,-10 82 0,1-34 0,1 61 0,0 1 0,1-1 0,-1 1 0,1-1 0,0 1 0,-1 0 0,2-1 0,-1 1 0,0 0 0,1 0 0,-1 0 0,1 0 0,4-5 0,-4 6 0,-1 1 0,1 0 0,0 0 0,-1 1 0,1-1 0,0 0 0,0 0 0,0 1 0,0-1 0,0 1 0,-1 0 0,1 0 0,0-1 0,0 1 0,0 0 0,0 1 0,0-1 0,0 0 0,0 0 0,0 1 0,0 0 0,0-1 0,-1 1 0,1 0 0,0 0 0,2 1 0,4 2 0,0 0 0,0 1 0,-1 0 0,8 7 0,90 92 0,-56-53 0,-25-15 0,-21-31 0,-1 0 0,1 0 0,1-1 0,-1 1 0,1-1 0,4 5 0,-8-8 0,0-1 0,1 0 0,-1 0 0,0 0 0,0 0 0,1 0 0,-1 0 0,0 0 0,1 0 0,-1 0 0,0 0 0,0 0 0,1 0 0,-1 0 0,0 0 0,0 0 0,1 0 0,-1 0 0,0-1 0,0 1 0,1 0 0,-1 0 0,0 0 0,0 0 0,0 0 0,1-1 0,-1 1 0,0 0 0,0 0 0,0 0 0,0-1 0,1 1 0,-1 0 0,0 0 0,0 0 0,0-1 0,0 1 0,0 0 0,0 0 0,0-1 0,0 1 0,1 0 0,-1 0 0,0-1 0,0 1 0,0 0 0,0-1 0,0 1 0,-1 0 0,1 0 0,0-1 0,0 1 0,2-18 0,-2 18 0,0-40 0,0 21 0,0 1 0,1 0 0,5-29 0,-6 44 0,1-1 0,0 0 0,0 0 0,1 1 0,-1-1 0,1 1 0,-1-1 0,1 1 0,0 0 0,1 0 0,-1 0 0,0 0 0,1 0 0,0 0 0,-1 0 0,1 1 0,0 0 0,1-1 0,-1 1 0,0 0 0,0 1 0,6-3 0,-7 3 0,0 1 0,0-1 0,-1 1 0,1-1 0,0 1 0,0 0 0,0 0 0,0 0 0,0 0 0,0 0 0,0 0 0,0 1 0,0-1 0,0 1 0,-1-1 0,1 1 0,0 0 0,0 0 0,0 0 0,1 1 0,1 1 0,-1-1 0,0 1 0,0 0 0,-1 0 0,1 0 0,-1 1 0,1-1 0,-1 1 0,2 4 0,2 5 0,-1-1 0,-1 2 0,0-1 0,4 26 0,6 33 0,-8-48 0,-2 1 0,4 42 0,-9 152-1365,1-196-5461</inkml:trace>
</inkml:ink>
</file>

<file path=ppt/ink/ink2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35.165"/>
    </inkml:context>
    <inkml:brush xml:id="br0">
      <inkml:brushProperty name="width" value="0.025" units="cm"/>
      <inkml:brushProperty name="height" value="0.025" units="cm"/>
      <inkml:brushProperty name="color" value="#E71224"/>
    </inkml:brush>
  </inkml:definitions>
  <inkml:trace contextRef="#ctx0" brushRef="#br0">1 0 24575,'0'357'0,"1"-342"11,0-1 1,2 1-1,5 20 0,0 1-1421,-4-17-5416</inkml:trace>
</inkml:ink>
</file>

<file path=ppt/ink/ink2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36.729"/>
    </inkml:context>
    <inkml:brush xml:id="br0">
      <inkml:brushProperty name="width" value="0.025" units="cm"/>
      <inkml:brushProperty name="height" value="0.025" units="cm"/>
      <inkml:brushProperty name="color" value="#E71224"/>
    </inkml:brush>
  </inkml:definitions>
  <inkml:trace contextRef="#ctx0" brushRef="#br0">0 81 24575,'5'-5'0,"5"-1"0,7 0 0,4 2 0,4-4 0,2-1 0,1 2 0,1 2 0,-5-3 0,-2 0 0,0 2 0,1 1 0,-3 2-8191</inkml:trace>
</inkml:ink>
</file>

<file path=ppt/ink/ink2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39.043"/>
    </inkml:context>
    <inkml:brush xml:id="br0">
      <inkml:brushProperty name="width" value="0.025" units="cm"/>
      <inkml:brushProperty name="height" value="0.025" units="cm"/>
      <inkml:brushProperty name="color" value="#E71224"/>
    </inkml:brush>
  </inkml:definitions>
  <inkml:trace contextRef="#ctx0" brushRef="#br0">0 0 24575,'0'385'0,"0"-372"0,1-1 0,0 1 0,1 0 0,1 0 0,-1-1 0,2 1 0,0-1 0,9 20 0,-12-31 0,0 1 0,0-1 0,0 0 0,0 1 0,1-1 0,-1 0 0,0 0 0,0 0 0,1 0 0,-1 0 0,1 0 0,-1-1 0,1 1 0,-1 0 0,1-1 0,-1 1 0,1-1 0,2 1 0,1-1 0,-1 1 0,0-1 0,1-1 0,-1 1 0,0-1 0,0 1 0,6-3 0,7-2 0,0-2 0,27-14 0,-35 16 0,26-13-109,43-21 344,-70 35-421,0 1-1,-1 1 1,1 0 0,0 0-1,0 0 1,0 1-1,16-1 1,-7 5-6640</inkml:trace>
</inkml:ink>
</file>

<file path=ppt/ink/ink2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40.857"/>
    </inkml:context>
    <inkml:brush xml:id="br0">
      <inkml:brushProperty name="width" value="0.025" units="cm"/>
      <inkml:brushProperty name="height" value="0.025" units="cm"/>
      <inkml:brushProperty name="color" value="#E71224"/>
    </inkml:brush>
  </inkml:definitions>
  <inkml:trace contextRef="#ctx0" brushRef="#br0">1 2 24575,'88'-2'0,"98"5"0,-183-3 7,1 0 0,-1 1-1,1 0 1,-1 0 0,0 0-1,1 0 1,-1 0-1,0 1 1,0-1 0,0 1-1,0 0 1,0 0 0,0 0-1,-1 0 1,1 1 0,-1-1-1,5 6 1,-4-3-172,0 0 0,0 0 0,0 1 0,0 0 0,-1 0 0,0-1 0,0 1 0,1 12 0,-1-6-6661</inkml:trace>
</inkml:ink>
</file>

<file path=ppt/ink/ink2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42.046"/>
    </inkml:context>
    <inkml:brush xml:id="br0">
      <inkml:brushProperty name="width" value="0.025" units="cm"/>
      <inkml:brushProperty name="height" value="0.025" units="cm"/>
      <inkml:brushProperty name="color" value="#E71224"/>
    </inkml:brush>
  </inkml:definitions>
  <inkml:trace contextRef="#ctx0" brushRef="#br0">0 84 24575,'32'0'0,"0"-2"0,0 0 0,46-11 0,115-43 0,-148 47-1365,-23 7-5461</inkml:trace>
</inkml:ink>
</file>

<file path=ppt/ink/ink2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42.983"/>
    </inkml:context>
    <inkml:brush xml:id="br0">
      <inkml:brushProperty name="width" value="0.025" units="cm"/>
      <inkml:brushProperty name="height" value="0.025" units="cm"/>
      <inkml:brushProperty name="color" value="#E71224"/>
    </inkml:brush>
  </inkml:definitions>
  <inkml:trace contextRef="#ctx0" brushRef="#br0">1 1 24575,'0'0'-8191</inkml:trace>
</inkml:ink>
</file>

<file path=ppt/ink/ink2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45.910"/>
    </inkml:context>
    <inkml:brush xml:id="br0">
      <inkml:brushProperty name="width" value="0.025" units="cm"/>
      <inkml:brushProperty name="height" value="0.025" units="cm"/>
      <inkml:brushProperty name="color" value="#E71224"/>
    </inkml:brush>
  </inkml:definitions>
  <inkml:trace contextRef="#ctx0" brushRef="#br0">12 1 24575,'0'384'0,"-6"-345"0,4-33 0,1-1 0,0 1 0,0 0 0,0 0 0,1 0 0,0 7 0,1-11 0,-1-1 0,1 0 0,0 1 0,-1-1 0,1 0 0,0 1 0,0-1 0,0 0 0,0 0 0,0 0 0,0 0 0,0 0 0,0 0 0,0 0 0,1 0 0,-1 0 0,0-1 0,1 1 0,-1-1 0,0 1 0,1-1 0,-1 1 0,1-1 0,-1 1 0,1-1 0,-1 0 0,1 0 0,2 0 0,2 0 0,1 0 0,-1 0 0,1 0 0,-1-1 0,9-2 0,83-32 0,-76 26 0,1 0 0,0 2 0,0 0 0,44-6 0,-40 12-1365,-3 0-5461</inkml:trace>
</inkml:ink>
</file>

<file path=ppt/ink/ink2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50.508"/>
    </inkml:context>
    <inkml:brush xml:id="br0">
      <inkml:brushProperty name="width" value="0.025" units="cm"/>
      <inkml:brushProperty name="height" value="0.025" units="cm"/>
      <inkml:brushProperty name="color" value="#E71224"/>
    </inkml:brush>
  </inkml:definitions>
  <inkml:trace contextRef="#ctx0" brushRef="#br0">1 0 24575,'0'5'0,"0"6"0,0 5 0,0 6 0,0 3 0,0 2 0,0 1 0,0 0 0,0 1 0,0-1 0,0 0 0,0 0 0,0 0 0,0-1 0,0 0 0,0 1 0,0-1 0,0-4-8191</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05.884"/>
    </inkml:context>
    <inkml:brush xml:id="br0">
      <inkml:brushProperty name="width" value="0.035" units="cm"/>
      <inkml:brushProperty name="height" value="0.035" units="cm"/>
      <inkml:brushProperty name="color" value="#E71224"/>
    </inkml:brush>
  </inkml:definitions>
  <inkml:trace contextRef="#ctx0" brushRef="#br0">223 3 24575,'-31'-1'0,"17"0"0,1 0 0,0 1 0,-1 1 0,-13 3 0,24-4 0,-1 1 0,1 0 0,0 0 0,0 1 0,0-1 0,0 0 0,0 1 0,0 0 0,0 0 0,0 0 0,0 0 0,1 0 0,-1 0 0,1 1 0,0-1 0,0 1 0,0 0 0,0 0 0,0 0 0,-2 5 0,-6 14 0,1 1 0,1 0 0,2 0 0,0 1 0,1 0 0,1 0 0,2 0 0,0 1 0,2 26 0,0-48 0,1 0 0,-1-1 0,1 1 0,0-1 0,0 1 0,0-1 0,0 1 0,0-1 0,0 0 0,0 0 0,1 1 0,-1-1 0,1 0 0,0 0 0,0 0 0,0-1 0,0 1 0,3 2 0,0-1 0,1 0 0,-1 0 0,0-1 0,1 0 0,0 0 0,0 0 0,11 1 0,-2-1 0,0-1 0,1 0 0,-1-2 0,0 1 0,27-6 0,-38 5-5,1 0 0,-1-1 0,0 1 0,0-1 0,1 0 0,-1 0 0,0 0 0,-1-1 0,1 1 0,0-1 0,-1 0 0,1 0 0,-1 0 0,0 0 0,4-7 0,-3 4 27,0-1 0,0 0 1,-1 0-1,-1 0 0,1 0 0,-1 0 1,0 0-1,2-14 0,-3 1-234,0 0 0,-1 0 0,-1 0-1,-1 0 1,-1 1 0,-7-29 0,5 29-6614</inkml:trace>
</inkml:ink>
</file>

<file path=ppt/ink/ink2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52.040"/>
    </inkml:context>
    <inkml:brush xml:id="br0">
      <inkml:brushProperty name="width" value="0.025" units="cm"/>
      <inkml:brushProperty name="height" value="0.025" units="cm"/>
      <inkml:brushProperty name="color" value="#E71224"/>
    </inkml:brush>
  </inkml:definitions>
  <inkml:trace contextRef="#ctx0" brushRef="#br0">0 1 24575,'0'4'0,"0"7"0,0 6 0,0 5 0,0 3 0,0 1 0,0 2 0,0 1 0,0 0 0,0-1 0,0 0 0,0 0 0,0-1 0,0 1 0,0-1 0,0 0 0,0 1 0,0-6-8191</inkml:trace>
</inkml:ink>
</file>

<file path=ppt/ink/ink2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53.870"/>
    </inkml:context>
    <inkml:brush xml:id="br0">
      <inkml:brushProperty name="width" value="0.025" units="cm"/>
      <inkml:brushProperty name="height" value="0.025" units="cm"/>
      <inkml:brushProperty name="color" value="#E71224"/>
    </inkml:brush>
  </inkml:definitions>
  <inkml:trace contextRef="#ctx0" brushRef="#br0">1 58 24575,'4'0'0,"7"0"0,6 0 0,0-5 0,2-1 0,2 0 0,2 2 0,2 0 0,-3-3 0,-2 0 0,2 0 0,1 2 0,2 2 0,0 1 0,2 1 0,0 1 0,-5 5 0,-5 2-8191</inkml:trace>
</inkml:ink>
</file>

<file path=ppt/ink/ink2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57.137"/>
    </inkml:context>
    <inkml:brush xml:id="br0">
      <inkml:brushProperty name="width" value="0.025" units="cm"/>
      <inkml:brushProperty name="height" value="0.025" units="cm"/>
      <inkml:brushProperty name="color" value="#E71224"/>
    </inkml:brush>
  </inkml:definitions>
  <inkml:trace contextRef="#ctx0" brushRef="#br0">0 484 24575,'2'-12'0,"0"-1"0,1 1 0,0 0 0,1 0 0,1 0 0,0 1 0,9-17 0,-3 5 0,33-58 0,4-11 0,-43 81 0,-1-1 0,0 0 0,0-1 0,-2 1 0,1-1 0,0-15 0,-3 22 0,0 0 0,1 0 0,-1 1 0,1-1 0,1 0 0,-1 1 0,5-11 0,-5 14 0,0 1 0,0 0 0,0-1 0,0 1 0,0 0 0,0 0 0,0 0 0,1 0 0,-1 0 0,0 0 0,1 0 0,-1 0 0,0 1 0,1-1 0,-1 0 0,1 1 0,-1 0 0,1-1 0,-1 1 0,1 0 0,0-1 0,-1 1 0,1 0 0,-1 0 0,1 0 0,-1 1 0,1-1 0,0 0 0,-1 0 0,1 1 0,-1-1 0,1 1 0,2 1 0,2 1 0,0-1 0,0 2 0,0-1 0,-1 1 0,1-1 0,-1 1 0,0 1 0,0-1 0,0 1 0,-1 0 0,0 0 0,0 0 0,5 9 0,5 9 0,-2 1 0,10 26 0,-7-15 0,-5-9 0,-1 0 0,-1 0 0,-1 1 0,5 40 0,4-2-1365,-11-46-5461</inkml:trace>
</inkml:ink>
</file>

<file path=ppt/ink/ink2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4:59.358"/>
    </inkml:context>
    <inkml:brush xml:id="br0">
      <inkml:brushProperty name="width" value="0.025" units="cm"/>
      <inkml:brushProperty name="height" value="0.025" units="cm"/>
      <inkml:brushProperty name="color" value="#E71224"/>
    </inkml:brush>
  </inkml:definitions>
  <inkml:trace contextRef="#ctx0" brushRef="#br0">59 28 24575,'8'0'0,"1"-2"0,0 1 0,-1-1 0,17-5 0,24-5 0,-28 10 0,3 1 0,-40 0 0,-16 1-341,0 1 0,1 2-1,-50 11 1,62-10-6485</inkml:trace>
</inkml:ink>
</file>

<file path=ppt/ink/ink2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03.407"/>
    </inkml:context>
    <inkml:brush xml:id="br0">
      <inkml:brushProperty name="width" value="0.025" units="cm"/>
      <inkml:brushProperty name="height" value="0.025" units="cm"/>
      <inkml:brushProperty name="color" value="#E71224"/>
    </inkml:brush>
  </inkml:definitions>
  <inkml:trace contextRef="#ctx0" brushRef="#br0">278 33 24575,'-32'0'0,"0"-1"0,0-2 0,-46-9 0,57 6 0,12 4 0,0-1 0,0 1 0,-1 1 0,-15-1 0,23 2 0,1 0 0,0 1 0,0-1 0,0 1 0,0-1 0,0 1 0,0 0 0,0-1 0,0 1 0,0 0 0,0 0 0,1 0 0,-1-1 0,0 1 0,0 0 0,1 0 0,-1 0 0,1 0 0,-1 0 0,1 1 0,-1-1 0,1 0 0,0 0 0,-1 0 0,1 0 0,0 0 0,0 1 0,0-1 0,0 2 0,0 43 0,0-37 0,0-5 0,0 0 0,0 1 0,1-1 0,-1 0 0,1 1 0,0-1 0,1 0 0,-1 0 0,1 1 0,-1-1 0,1 0 0,0-1 0,5 7 0,-5-7 0,1-1 0,0 1 0,0-1 0,0 0 0,1 0 0,-1 0 0,0 0 0,1-1 0,-1 1 0,1-1 0,-1 0 0,1 0 0,0 0 0,-1 0 0,1-1 0,6 0 0,57 0 0,-51-1 0,0 1 0,0 0 0,0 1 0,18 4 0,-29-4 0,1 1 0,-1-1 0,0 1 0,0 1 0,1-1 0,-2 1 0,1 0 0,0 0 0,0 0 0,-1 1 0,0-1 0,0 1 0,0 0 0,0 0 0,5 9 0,0 0 0,-2 0 0,0 0 0,0 1 0,-2-1 0,9 30 0,-14-41 0,0 1 0,0 0 0,0 0 0,0-1 0,-1 1 0,1 0 0,-1-1 0,0 1 0,0 0 0,0-1 0,0 1 0,0-1 0,0 1 0,-1-1 0,1 0 0,-1 0 0,0 0 0,0 1 0,1-1 0,-1-1 0,-1 1 0,1 0 0,0-1 0,0 1 0,-1-1 0,1 1 0,0-1 0,-5 1 0,-7 5 0,1-2 0,-1 0 0,-27 6 0,17-7-455,1-1 0,-41 0 0,39-3-6371</inkml:trace>
</inkml:ink>
</file>

<file path=ppt/ink/ink2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05.174"/>
    </inkml:context>
    <inkml:brush xml:id="br0">
      <inkml:brushProperty name="width" value="0.025" units="cm"/>
      <inkml:brushProperty name="height" value="0.025" units="cm"/>
      <inkml:brushProperty name="color" value="#E71224"/>
    </inkml:brush>
  </inkml:definitions>
  <inkml:trace contextRef="#ctx0" brushRef="#br0">0 0 24575,'0'5'0,"0"5"0,0 7 0,5 0 0,1 1 0,0 4 0,-1 1 0,-2 2 0,4-3 0,0-1 0,0 0 0,-2 3 0,-2 0 0,-1 2 0,-1 0 0,-1 1 0,0-4-8191</inkml:trace>
</inkml:ink>
</file>

<file path=ppt/ink/ink2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07.191"/>
    </inkml:context>
    <inkml:brush xml:id="br0">
      <inkml:brushProperty name="width" value="0.025" units="cm"/>
      <inkml:brushProperty name="height" value="0.025" units="cm"/>
      <inkml:brushProperty name="color" value="#E71224"/>
    </inkml:brush>
  </inkml:definitions>
  <inkml:trace contextRef="#ctx0" brushRef="#br0">1 0 24575,'0'493'-1365,"0"-470"-5461</inkml:trace>
</inkml:ink>
</file>

<file path=ppt/ink/ink2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08.239"/>
    </inkml:context>
    <inkml:brush xml:id="br0">
      <inkml:brushProperty name="width" value="0.025" units="cm"/>
      <inkml:brushProperty name="height" value="0.025" units="cm"/>
      <inkml:brushProperty name="color" value="#E71224"/>
    </inkml:brush>
  </inkml:definitions>
  <inkml:trace contextRef="#ctx0" brushRef="#br0">0 25 24575,'5'0'0,"6"0"0,6 0 0,0-5 0,1-1 0,3 0 0,3 2 0,-4 0-8191</inkml:trace>
</inkml:ink>
</file>

<file path=ppt/ink/ink2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09.850"/>
    </inkml:context>
    <inkml:brush xml:id="br0">
      <inkml:brushProperty name="width" value="0.025" units="cm"/>
      <inkml:brushProperty name="height" value="0.025" units="cm"/>
      <inkml:brushProperty name="color" value="#E71224"/>
    </inkml:brush>
  </inkml:definitions>
  <inkml:trace contextRef="#ctx0" brushRef="#br0">1 0 24575,'0'5'0,"0"6"0,0 6 0,0 5 0,0 2 0,0 3 0,0 1 0,0 1 0,0-1 0,0 1 0,0-1 0,0-1 0,0 1 0,0 0 0,0-1 0,0-4-8191</inkml:trace>
</inkml:ink>
</file>

<file path=ppt/ink/ink2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10.632"/>
    </inkml:context>
    <inkml:brush xml:id="br0">
      <inkml:brushProperty name="width" value="0.025" units="cm"/>
      <inkml:brushProperty name="height" value="0.025" units="cm"/>
      <inkml:brushProperty name="color" value="#E71224"/>
    </inkml:brush>
  </inkml:definitions>
  <inkml:trace contextRef="#ctx0" brushRef="#br0">0 1 24575,'0'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0:22.510"/>
    </inkml:context>
    <inkml:brush xml:id="br0">
      <inkml:brushProperty name="width" value="0.035" units="cm"/>
      <inkml:brushProperty name="height" value="0.035" units="cm"/>
      <inkml:brushProperty name="color" value="#E71224"/>
    </inkml:brush>
  </inkml:definitions>
  <inkml:trace contextRef="#ctx0" brushRef="#br0">0 1 24575,'0'3'0,"0"6"0,0 5 0,0 3 0,0 3 0,0 2 0,0 0 0,0 1 0,4 0 0,1 0 0,0 0 0,-1-1 0,3 1 0,-1-1 0,0 0 0,-2-3-8191</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07.495"/>
    </inkml:context>
    <inkml:brush xml:id="br0">
      <inkml:brushProperty name="width" value="0.035" units="cm"/>
      <inkml:brushProperty name="height" value="0.035" units="cm"/>
      <inkml:brushProperty name="color" value="#E71224"/>
    </inkml:brush>
  </inkml:definitions>
  <inkml:trace contextRef="#ctx0" brushRef="#br0">22 1 24575,'-1'0'0,"0"0"0,0 1 0,0-1 0,0 1 0,0-1 0,1 1 0,-1-1 0,0 1 0,0 0 0,0-1 0,0 1 0,1 0 0,-1 0 0,0 0 0,1-1 0,-1 1 0,1 0 0,-1 0 0,1 0 0,-1 0 0,1 0 0,0 0 0,-1 0 0,1 0 0,0 0 0,0 0 0,0 2 0,-5 34 0,5-33 0,1 23 0,1-1 0,1 1 0,1 0 0,1-1 0,1 0 0,11 27 0,11 49 0,-23-86-1365,0-3-5461</inkml:trace>
</inkml:ink>
</file>

<file path=ppt/ink/ink3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12.338"/>
    </inkml:context>
    <inkml:brush xml:id="br0">
      <inkml:brushProperty name="width" value="0.025" units="cm"/>
      <inkml:brushProperty name="height" value="0.025" units="cm"/>
      <inkml:brushProperty name="color" value="#E71224"/>
    </inkml:brush>
  </inkml:definitions>
  <inkml:trace contextRef="#ctx0" brushRef="#br0">77 52 24575,'-5'0'0,"-6"0"0,-1-4 0,-3-2 0,0-5 0,4-4 0,3-1-8191</inkml:trace>
</inkml:ink>
</file>

<file path=ppt/ink/ink3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28.734"/>
    </inkml:context>
    <inkml:brush xml:id="br0">
      <inkml:brushProperty name="width" value="0.025" units="cm"/>
      <inkml:brushProperty name="height" value="0.025" units="cm"/>
      <inkml:brushProperty name="color" value="#E71224"/>
    </inkml:brush>
  </inkml:definitions>
  <inkml:trace contextRef="#ctx0" brushRef="#br0">1 1 24575,'4'0'0,"2"5"0,5 1 0,0 4 0,2 1 0,0 3 0,2-1 0,-1-3-8191</inkml:trace>
</inkml:ink>
</file>

<file path=ppt/ink/ink3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32.345"/>
    </inkml:context>
    <inkml:brush xml:id="br0">
      <inkml:brushProperty name="width" value="0.025" units="cm"/>
      <inkml:brushProperty name="height" value="0.025" units="cm"/>
      <inkml:brushProperty name="color" value="#E71224"/>
    </inkml:brush>
  </inkml:definitions>
  <inkml:trace contextRef="#ctx0" brushRef="#br0">83 435 24575,'-1'-5'0,"-1"0"0,1 0 0,-1 0 0,0 0 0,-4-7 0,-2-8 0,-10-33 0,9 33 0,2-1 0,0 0 0,1 0 0,2-1 0,0 1 0,1-1 0,1 0 0,1-25 0,1 45 0,0 0 0,1-1 0,-1 1 0,0 0 0,0 0 0,1 0 0,-1 0 0,1 0 0,0 0 0,0 0 0,0 0 0,0 1 0,0-1 0,0 0 0,0 0 0,0 1 0,1-1 0,-1 0 0,1 1 0,-1 0 0,1-1 0,1 0 0,-1 1 0,1 0 0,-1 1 0,0-1 0,0 1 0,1 0 0,-1 0 0,0 0 0,1 0 0,-1 0 0,0 0 0,0 1 0,1-1 0,-1 1 0,0-1 0,0 1 0,4 2 0,5 2 0,0 1 0,0 1 0,-1 0 0,0 0 0,18 18 0,245 252 0,-273-276 0,1 0 0,0 0 0,0 0 0,0 0 0,0 0 0,0 0 0,0 0 0,0 0 0,0 0 0,0 0 0,0-1 0,1 1 0,-1-1 0,0 1 0,0-1 0,1 1 0,-1-1 0,0 1 0,1-1 0,-1 0 0,0 0 0,1 0 0,-1 0 0,1 0 0,-1 0 0,0 0 0,1 0 0,-1-1 0,0 1 0,1 0 0,-1-1 0,0 1 0,0-1 0,1 0 0,-1 1 0,0-1 0,0 0 0,0 0 0,0 1 0,0-1 0,0 0 0,0 0 0,0 0 0,0 0 0,0-1 0,-1 1 0,2-1 0,3-9 0,1 1 0,-2 0 0,0-1 0,5-19 0,-4 16 0,1-14-22,-1-1 1,-1 0-1,-2 0 0,0 0 0,-5-50 0,1 13-1212,2 42-5592</inkml:trace>
</inkml:ink>
</file>

<file path=ppt/ink/ink3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36.630"/>
    </inkml:context>
    <inkml:brush xml:id="br0">
      <inkml:brushProperty name="width" value="0.025" units="cm"/>
      <inkml:brushProperty name="height" value="0.025" units="cm"/>
      <inkml:brushProperty name="color" value="#E71224"/>
    </inkml:brush>
  </inkml:definitions>
  <inkml:trace contextRef="#ctx0" brushRef="#br0">329 1 24575,'-16'0'0,"-4"0"0,-1 0 0,0 2 0,-23 4 0,36-4 0,0 0 0,1 0 0,0 1 0,0 0 0,-1 1 0,2 0 0,-1 0 0,0 0 0,1 1 0,0 0 0,-10 10 0,-2 4 0,0 0 0,-26 38 0,39-49 0,1-1 0,0 1 0,0-1 0,1 1 0,0 0 0,0 1 0,1-1 0,0 0 0,1 1 0,-1-1 0,2 1 0,-1 11 0,1-17 0,1 0 0,-1 0 0,1 0 0,-1-1 0,1 1 0,0 0 0,0 0 0,0-1 0,1 1 0,-1-1 0,0 1 0,1-1 0,0 0 0,-1 1 0,1-1 0,0 0 0,3 2 0,0 0 0,-1-1 0,1 0 0,0 0 0,1 0 0,-1-1 0,0 0 0,12 4 0,2-2 0,1-1 0,-1-1 0,39 1 0,-29-3 0,-15 1 0,1-1 0,-1 0 0,1-1 0,-1-1 0,20-4 0,-31 5 0,1-1 0,-1 1 0,0 0 0,0-1 0,1 0 0,-1 0 0,0 0 0,-1 0 0,1 0 0,0 0 0,-1-1 0,1 1 0,-1-1 0,0 0 0,0 0 0,0 0 0,0 0 0,0 0 0,-1 0 0,1 0 0,-1-1 0,0 1 0,0-1 0,0 1 0,0-1 0,0-6 0,2-33 0,-3 30 0,1-1 0,0 1 0,1 0 0,0 0 0,1-1 0,9-22 0,-12 35 0,1 0 0,-1 0 0,1 0 0,-1 0 0,1 0 0,-1 0 0,1 0 0,-1 1 0,1-1 0,0 0 0,-1 0 0,1 0 0,0 1 0,0-1 0,0 0 0,-1 1 0,1-1 0,0 1 0,0-1 0,0 1 0,0 0 0,0-1 0,0 1 0,0 0 0,0-1 0,0 1 0,0 0 0,0 0 0,2 0 0,-1 1 0,0 0 0,0 0 0,1 0 0,-1 0 0,0 0 0,0 0 0,0 0 0,-1 1 0,1-1 0,0 1 0,0-1 0,2 4 0,3 5 0,1 0 0,-2 0 0,12 22 0,33 94 0,-45-108 0,-1 1 0,-1 0 0,-1 0 0,0 0 0,-1 20 0,-1 1 0,-5 139 0,3-172 0,0 0 0,-1 0 0,1 0 0,-2-1 0,1 1 0,-1-1 0,0 0 0,0 0 0,-1 0 0,0 0 0,-4 5 0,0-1 0,0-1 0,-1 0 0,0-1 0,-1 0 0,-14 9 0,21-14 9,-1-1 1,0 0-1,0 0 0,-1 0 0,1-1 1,0 1-1,-1-1 0,1 0 0,-1-1 0,1 1 1,-1-1-1,-5 0 0,-1 0-380,0-2-1,0 0 1,-19-5 0,11 1-6455</inkml:trace>
</inkml:ink>
</file>

<file path=ppt/ink/ink3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40.087"/>
    </inkml:context>
    <inkml:brush xml:id="br0">
      <inkml:brushProperty name="width" value="0.025" units="cm"/>
      <inkml:brushProperty name="height" value="0.025" units="cm"/>
      <inkml:brushProperty name="color" value="#E71224"/>
    </inkml:brush>
  </inkml:definitions>
  <inkml:trace contextRef="#ctx0" brushRef="#br0">526 3 24575,'-65'0'0,"26"-2"0,-1 2 0,1 2 0,-53 9 0,17 3 0,-46 11 0,117-23 0,1-1 0,0 0 0,0 1 0,0 0 0,0 0 0,0 0 0,0 0 0,1 0 0,-1 0 0,1 1 0,0-1 0,-1 1 0,1 0 0,0 0 0,0-1 0,1 1 0,-1 1 0,1-1 0,-1 0 0,1 0 0,0 0 0,0 1 0,0-1 0,1 1 0,-1-1 0,1 1 0,0-1 0,0 0 0,1 7 0,-1-2 0,1 0 0,0 0 0,0-1 0,1 1 0,0 0 0,1-1 0,-1 1 0,2-1 0,-1 0 0,1 0 0,0 0 0,5 7 0,3-1 0,1 0 0,0-1 0,0 0 0,1-2 0,25 16 0,84 37 0,-25-14 0,-89-45 8,1 1 0,0-1 0,0-1 0,1 0 0,-1 0 0,1-1-1,17 1 1,77-2-418,-64-2-608,-17 0-5808</inkml:trace>
</inkml:ink>
</file>

<file path=ppt/ink/ink3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41.854"/>
    </inkml:context>
    <inkml:brush xml:id="br0">
      <inkml:brushProperty name="width" value="0.025" units="cm"/>
      <inkml:brushProperty name="height" value="0.025" units="cm"/>
      <inkml:brushProperty name="color" value="#E71224"/>
    </inkml:brush>
  </inkml:definitions>
  <inkml:trace contextRef="#ctx0" brushRef="#br0">0 0 24575,'7'9'0,"-1"0"0,0 0 0,-1 0 0,0 1 0,-1-1 0,0 1 0,0 0 0,2 13 0,-2-9 0,27 72 0,15 55 0,-43-126-455,0 0 0,1 26 0,-3-18-6371</inkml:trace>
</inkml:ink>
</file>

<file path=ppt/ink/ink3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44.921"/>
    </inkml:context>
    <inkml:brush xml:id="br0">
      <inkml:brushProperty name="width" value="0.025" units="cm"/>
      <inkml:brushProperty name="height" value="0.025" units="cm"/>
      <inkml:brushProperty name="color" value="#E71224"/>
    </inkml:brush>
  </inkml:definitions>
  <inkml:trace contextRef="#ctx0" brushRef="#br0">0 156 24575,'1'-6'0,"0"1"0,0-1 0,0 0 0,1 1 0,0-1 0,0 1 0,0-1 0,1 1 0,0 0 0,0 0 0,0 0 0,0 0 0,1 1 0,0-1 0,5-4 0,1 0 0,0 0 0,0 0 0,1 1 0,0 1 0,21-11 0,-31 17 0,0 0 0,1 0 0,-1 1 0,1-1 0,0 0 0,-1 1 0,1-1 0,0 1 0,-1-1 0,1 1 0,0 0 0,-1-1 0,1 1 0,0 0 0,0 0 0,-1 0 0,1 1 0,0-1 0,0 0 0,-1 1 0,1-1 0,0 1 0,-1 0 0,1-1 0,-1 1 0,1 0 0,-1 0 0,1 0 0,-1 0 0,1 0 0,-1 0 0,0 0 0,0 1 0,0-1 0,1 0 0,-1 1 0,-1-1 0,1 1 0,0-1 0,0 1 0,0-1 0,-1 1 0,1 0 0,-1-1 0,1 1 0,-1 0 0,0 2 0,3 12 0,-1-1 0,-1 1 0,0 0 0,-3 20 0,1-20 0,1 9 0,1-15 0,-1 1 0,-1-1 0,0 1 0,0-1 0,-3 11 0,3-19 0,0 1 0,0-1 0,0 1 0,0-1 0,-1 1 0,1-1 0,-1 0 0,1 0 0,-1 0 0,0 0 0,0 0 0,0 0 0,0 0 0,0 0 0,0-1 0,-1 1 0,1-1 0,-1 0 0,1 1 0,-1-1 0,1 0 0,-1-1 0,-4 2 0,-2 0 0,3 0 0,9-2 0,24 1 0,-13 3 15,-1 0 0,-1 1 0,1 1 0,-1 0 0,0 0 0,0 1 0,17 13 0,-11-5-386,-1 0-1,0 1 1,24 30 0,-31-32-6455</inkml:trace>
</inkml:ink>
</file>

<file path=ppt/ink/ink3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48.015"/>
    </inkml:context>
    <inkml:brush xml:id="br0">
      <inkml:brushProperty name="width" value="0.025" units="cm"/>
      <inkml:brushProperty name="height" value="0.025" units="cm"/>
      <inkml:brushProperty name="color" value="#E71224"/>
    </inkml:brush>
  </inkml:definitions>
  <inkml:trace contextRef="#ctx0" brushRef="#br0">107 143 24575,'-3'1'0,"-1"-1"0,1 1 0,0-1 0,0 1 0,-1 0 0,1 0 0,0 0 0,0 1 0,0-1 0,1 1 0,-1 0 0,0 0 0,0 0 0,1 0 0,0 0 0,-1 0 0,1 1 0,0-1 0,0 1 0,0-1 0,0 1 0,0 0 0,1 0 0,0 0 0,-1 0 0,1 0 0,0 0 0,-1 5 0,-2 6 0,1 1 0,0 0 0,1 0 0,0 27 0,2-37 0,0 0 0,0-1 0,1 1 0,-1-1 0,1 1 0,0 0 0,0-1 0,1 1 0,0-1 0,-1 0 0,1 0 0,4 6 0,-5-8 0,1-1 0,-1 1 0,1 0 0,0-1 0,0 1 0,0-1 0,0 1 0,0-1 0,0 0 0,0 0 0,0 0 0,1 0 0,-1 0 0,0 0 0,1-1 0,-1 1 0,0-1 0,1 1 0,-1-1 0,1 0 0,-1 0 0,1 0 0,-1-1 0,0 1 0,4-1 0,20-6 0,-1-1 0,0-1 0,-1-1 0,0-1 0,0-1 0,33-22 0,2-1 0,-57 34 0,-1 1 0,0-1 0,1 1 0,-1-1 0,0 0 0,1 0 0,-1 0 0,0 1 0,0-1 0,0 0 0,0-1 0,0 1 0,0 0 0,0 0 0,0 0 0,0-1 0,0 1 0,-1 0 0,1-1 0,0 1 0,-1 0 0,1-1 0,-1 1 0,0-1 0,1 1 0,-1-1 0,0 1 0,0-1 0,0 1 0,0-1 0,0 1 0,0-1 0,-1-2 0,-1 0 0,0 1 0,0 0 0,-1 0 0,1-1 0,-1 1 0,1 1 0,-1-1 0,0 0 0,0 1 0,0-1 0,0 1 0,-5-2 0,-18-13 0,1-1 0,0-1 0,-39-41 0,54 52 0,0 0 0,0 1 0,-1 0 0,0 0 0,-1 1 0,0 1 0,0-1 0,-24-5 0,34 10 0,1 1 0,-1-1 0,1 1 0,-1 0 0,1-1 0,-1 1 0,1 0 0,-1 0 0,0 0 0,1 0 0,-1 1 0,1-1 0,-1 0 0,1 1 0,-1-1 0,1 0 0,-1 1 0,1 0 0,-1-1 0,1 1 0,0 0 0,-1 0 0,1 0 0,0 0 0,0 0 0,0 0 0,0 0 0,0 0 0,0 1 0,0-1 0,0 0 0,0 1 0,0-1 0,1 0 0,-1 1 0,0-1 0,0 4 0,-2 5 0,0 1 0,1-1 0,1 1 0,-2 15 0,2-11 0,-18 99-1365,16-90-5461</inkml:trace>
</inkml:ink>
</file>

<file path=ppt/ink/ink3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52.741"/>
    </inkml:context>
    <inkml:brush xml:id="br0">
      <inkml:brushProperty name="width" value="0.025" units="cm"/>
      <inkml:brushProperty name="height" value="0.025" units="cm"/>
      <inkml:brushProperty name="color" value="#E71224"/>
    </inkml:brush>
  </inkml:definitions>
  <inkml:trace contextRef="#ctx0" brushRef="#br0">379 149 24575,'-2'-3'0,"1"0"0,-1 0 0,1 1 0,-1-1 0,0 0 0,0 1 0,0-1 0,0 1 0,-1 0 0,1 0 0,-1 0 0,1 0 0,-1 0 0,0 0 0,-4-1 0,-4-5 0,-18-12 0,-1 2 0,-1 1 0,0 1 0,-36-12 0,65 27 0,-1 1 0,0-1 0,1 1 0,-1 0 0,0 0 0,0 0 0,1 0 0,-1 0 0,0 1 0,1-1 0,-1 1 0,0 0 0,1 0 0,-1 0 0,1 0 0,-1 0 0,1 0 0,0 1 0,-1-1 0,1 1 0,0-1 0,0 1 0,0 0 0,0 0 0,0 0 0,1 0 0,-1 1 0,0-1 0,0 3 0,-8 9 0,1 2 0,1-1 0,-9 21 0,14-27 0,-1-1 0,0 1 0,1 0 0,0 0 0,0 0 0,1 0 0,-1 17 0,3-23 0,0-1 0,0 0 0,0 0 0,0 0 0,1 1 0,-1-1 0,1 0 0,-1 0 0,1 0 0,0 0 0,0 0 0,0 0 0,0 0 0,0 0 0,0 0 0,1 0 0,-1-1 0,1 1 0,-1 0 0,1-1 0,-1 1 0,1-1 0,0 0 0,0 1 0,0-1 0,0 0 0,0 0 0,0 0 0,0-1 0,0 1 0,0 0 0,0-1 0,1 0 0,1 1 0,12 1 0,-1-2 0,1 1 0,-1-2 0,1 0 0,-1-1 0,1 0 0,22-8 0,-15 5 0,0 0 0,34-1 0,-45 5 0,0 1 0,-1 0 0,1 1 0,21 4 0,-30-4 0,0 0 0,0 0 0,0 0 0,0 0 0,-1 0 0,1 1 0,0-1 0,-1 1 0,1 0 0,-1 0 0,0 0 0,1 0 0,-1 0 0,0 0 0,0 1 0,-1-1 0,1 1 0,0-1 0,-1 1 0,1 0 0,-1 0 0,0-1 0,2 7 0,-2-2 0,1 0 0,-1 0 0,0 0 0,-1 0 0,0 0 0,0 0 0,0 0 0,-1 0 0,0 0 0,0 0 0,-1 0 0,0 0 0,0 0 0,-1-1 0,0 1 0,0-1 0,0 1 0,-5 5 0,2-4 0,0-1 0,0-1 0,0 1 0,-1-1 0,0 0 0,0-1 0,-1 1 0,0-1 0,1-1 0,-1 0 0,-1 0 0,1 0 0,-15 3 0,-40 13-9,39-11-443,-1-1 0,-52 9 0,56-15-6374</inkml:trace>
</inkml:ink>
</file>

<file path=ppt/ink/ink3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49.048"/>
    </inkml:context>
    <inkml:brush xml:id="br0">
      <inkml:brushProperty name="width" value="0.025" units="cm"/>
      <inkml:brushProperty name="height" value="0.025" units="cm"/>
      <inkml:brushProperty name="color" value="#E71224"/>
    </inkml:brush>
  </inkml:definitions>
  <inkml:trace contextRef="#ctx0" brushRef="#br0">1 0 24575,'0'5'0,"0"1"-8191</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12.575"/>
    </inkml:context>
    <inkml:brush xml:id="br0">
      <inkml:brushProperty name="width" value="0.035" units="cm"/>
      <inkml:brushProperty name="height" value="0.035" units="cm"/>
      <inkml:brushProperty name="color" value="#E71224"/>
    </inkml:brush>
  </inkml:definitions>
  <inkml:trace contextRef="#ctx0" brushRef="#br0">272 43 24575,'-9'-1'0,"0"0"0,0-1 0,0 0 0,1-1 0,-1 0 0,-13-6 0,-34-10 0,50 18 0,-1 0 0,1 1 0,0 0 0,0 0 0,-1 0 0,1 0 0,0 1 0,0 0 0,0 1 0,0-1 0,0 1 0,0 0 0,0 1 0,1-1 0,-1 1 0,-5 4 0,9-5 0,-1 0 0,0 1 0,1-1 0,-1 1 0,1 0 0,0 0 0,0 0 0,0 0 0,0 0 0,1 0 0,-1 0 0,1 1 0,0-1 0,0 0 0,0 1 0,0-1 0,0 1 0,1 0 0,0-1 0,-1 1 0,1-1 0,1 1 0,-1-1 0,1 1 0,-1 0 0,1-1 0,0 0 0,0 1 0,3 5 0,-1-3 0,0 0 0,1 0 0,-1 0 0,2-1 0,-1 1 0,0-1 0,1 0 0,0 0 0,0-1 0,1 1 0,-1-1 0,1 0 0,0-1 0,0 1 0,0-1 0,9 3 0,-8-3 0,0-1 0,0 1 0,0-1 0,0-1 0,0 1 0,1-1 0,-1 0 0,0-1 0,1 0 0,-1 0 0,1 0 0,-1-1 0,0 0 0,0-1 0,8-2 0,-11 1 0,0 0 0,0 0 0,0 0 0,-1-1 0,0 1 0,0-1 0,0 0 0,0 0 0,0 0 0,-1 0 0,0 0 0,0 0 0,0-1 0,0 1 0,1-10 0,12-20 0,-8 20 0,-10 14 0,1 2 0,1 0 0,-1 1 0,1-1 0,0 0 0,0 1 0,0-1 0,0 1 0,0-1 0,-1 6 0,-1 19 40,0 0 0,2 46 0,1-62-189,1 0 1,1 0-1,0 0 1,0 0-1,1 0 1,0 0-1,1-1 1,0 1-1,8 11 1,0-3-6678</inkml:trace>
</inkml:ink>
</file>

<file path=ppt/ink/ink3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49.408"/>
    </inkml:context>
    <inkml:brush xml:id="br0">
      <inkml:brushProperty name="width" value="0.025" units="cm"/>
      <inkml:brushProperty name="height" value="0.025" units="cm"/>
      <inkml:brushProperty name="color" value="#E71224"/>
    </inkml:brush>
  </inkml:definitions>
  <inkml:trace contextRef="#ctx0" brushRef="#br0">1 1 24575,'0'0'-8191</inkml:trace>
</inkml:ink>
</file>

<file path=ppt/ink/ink3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5:58.183"/>
    </inkml:context>
    <inkml:brush xml:id="br0">
      <inkml:brushProperty name="width" value="0.025" units="cm"/>
      <inkml:brushProperty name="height" value="0.025" units="cm"/>
      <inkml:brushProperty name="color" value="#E71224"/>
    </inkml:brush>
  </inkml:definitions>
  <inkml:trace contextRef="#ctx0" brushRef="#br0">224 83 24575,'0'-2'0,"1"0"0,-1 0 0,-1 0 0,1 0 0,0 0 0,0 0 0,-1 0 0,1 0 0,-1 0 0,0 0 0,1 0 0,-3-2 0,0 0 0,0 1 0,-1-1 0,0 1 0,1 0 0,-1 0 0,-1 1 0,1-1 0,0 1 0,0-1 0,-6 0 0,-1-2 0,-1 1 0,0 1 0,-11-3 0,17 5 0,1 0 0,-1 0 0,1 1 0,0 0 0,-1 0 0,1 0 0,-1 0 0,1 1 0,0 0 0,-1 0 0,1 1 0,-9 3 0,12-4 0,0 1 0,-1 0 0,1-1 0,0 1 0,0 0 0,0 1 0,0-1 0,0 0 0,0 1 0,1-1 0,-1 1 0,1-1 0,0 1 0,-1 0 0,1-1 0,1 1 0,-1 0 0,0 0 0,1 0 0,-1 0 0,1 0 0,0 0 0,0-1 0,0 7 0,1 1 0,0 0 0,1 0 0,-1 0 0,2 0 0,0 0 0,0-1 0,0 1 0,9 15 0,-1-7 0,0 0 0,1-1 0,18 19 0,-15-18 0,0 1 0,-1 1 0,14 25 0,-23-36 0,-1 0 0,0 0 0,0 1 0,-1-1 0,0 1 0,-1 0 0,0 0 0,0 0 0,-1 0 0,0 13 0,-2-20-44,1-1 0,0 1 0,-1-1 0,1 1 0,-1-1 0,0 0 0,0 1 0,0-1 0,0 0 0,0 1 0,-1-1 0,1 0 0,-1 0 0,1 0 0,-1 0 0,0 0 0,0-1 0,1 1-1,-1 0 1,-1-1 0,1 1 0,0-1 0,0 0 0,0 0 0,-1 0 0,1 0 0,-1 0 0,1 0 0,-1-1 0,-3 1 0,-15 3-6782</inkml:trace>
</inkml:ink>
</file>

<file path=ppt/ink/ink3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6:01.313"/>
    </inkml:context>
    <inkml:brush xml:id="br0">
      <inkml:brushProperty name="width" value="0.025" units="cm"/>
      <inkml:brushProperty name="height" value="0.025" units="cm"/>
      <inkml:brushProperty name="color" value="#E71224"/>
    </inkml:brush>
  </inkml:definitions>
  <inkml:trace contextRef="#ctx0" brushRef="#br0">573 218 24575,'-5'-1'0,"-1"0"0,1 0 0,0 0 0,0-1 0,-1 1 0,1-1 0,0 0 0,0-1 0,1 1 0,-1-1 0,-4-4 0,2 3 0,1 0 0,-1 1 0,0-1 0,0 1 0,-8-2 0,0 2 0,0 0 0,-1 1 0,1 1 0,0 1 0,-22 1 0,-77 16 0,61-8 0,-6 4 0,40-9 0,0 0 0,1-1 0,-21 1 0,38-4 0,0 1 0,1-1 0,-1 0 0,0 0 0,0 0 0,0 0 0,1 0 0,-1 0 0,0 0 0,0 0 0,0 0 0,1 0 0,-1 0 0,0-1 0,0 1 0,1 0 0,-1-1 0,0 1 0,0 0 0,1-1 0,-1 1 0,0-1 0,1 1 0,-1-1 0,1 1 0,-1-1 0,1 1 0,-1-1 0,1 0 0,-1 1 0,1-1 0,-1 0 0,1 1 0,0-1 0,-1 0 0,1 0 0,0 0 0,0 1 0,0-1 0,-1 0 0,1 0 0,0 1 0,0-1 0,0 0 0,0 0 0,0 0 0,1 1 0,-1-1 0,0 0 0,0 0 0,0 0 0,1 1 0,0-2 0,1-3 0,0 1 0,0 0 0,0 0 0,1 0 0,0 0 0,0 1 0,6-7 0,18-15 0,9-9 0,52-37 0,-67 59-1365,-3 4-5461</inkml:trace>
</inkml:ink>
</file>

<file path=ppt/ink/ink3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6:04.878"/>
    </inkml:context>
    <inkml:brush xml:id="br0">
      <inkml:brushProperty name="width" value="0.025" units="cm"/>
      <inkml:brushProperty name="height" value="0.025" units="cm"/>
      <inkml:brushProperty name="color" value="#E71224"/>
    </inkml:brush>
  </inkml:definitions>
  <inkml:trace contextRef="#ctx0" brushRef="#br0">0 1 24575,'1'11'0,"1"1"0,0-1 0,1 1 0,0-1 0,1 0 0,7 15 0,7 26 0,-10-23 0,6 23 0,38 95 0,-48-137-195,-1 1 0,0 0 0,0-1 0,-1 1 0,0 0 0,-1 15 0,0-4-6631</inkml:trace>
</inkml:ink>
</file>

<file path=ppt/ink/ink3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6:05.535"/>
    </inkml:context>
    <inkml:brush xml:id="br0">
      <inkml:brushProperty name="width" value="0.025" units="cm"/>
      <inkml:brushProperty name="height" value="0.025" units="cm"/>
      <inkml:brushProperty name="color" value="#E71224"/>
    </inkml:brush>
  </inkml:definitions>
  <inkml:trace contextRef="#ctx0" brushRef="#br0">0 1 24575,'0'0'-8191</inkml:trace>
</inkml:ink>
</file>

<file path=ppt/ink/ink3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6:06.864"/>
    </inkml:context>
    <inkml:brush xml:id="br0">
      <inkml:brushProperty name="width" value="0.025" units="cm"/>
      <inkml:brushProperty name="height" value="0.025" units="cm"/>
      <inkml:brushProperty name="color" value="#E71224"/>
    </inkml:brush>
  </inkml:definitions>
  <inkml:trace contextRef="#ctx0" brushRef="#br0">0 26 24575,'57'1'0,"-31"0"0,-1 0 0,1-2 0,-1-1 0,0 0 0,27-8 0,-41 7 0,1 0 0,0 0 0,-1 2 0,1-1 0,0 1 0,0 1 0,18 1 0,-24 0 0,1 0 0,-1 1 0,0 0 0,0 0 0,0 0 0,0 0 0,-1 1 0,1 0 0,-1 1 0,1-1 0,-1 1 0,0 0 0,0 0 0,-1 0 0,8 9 0,-3-2 0,-1 0 0,0 0 0,-1 0 0,0 1 0,-1 0 0,0 1 0,-1-1 0,0 1 0,-1 0 0,0 0 0,-1 0 0,-1 1 0,0-1 0,-1 1 0,0 15 0,-1-28 0,0 17 0,0 0 0,-1-1 0,-6 33 0,5-45 0,1 0 0,-1 0 0,0 0 0,0 0 0,-1 0 0,1 0 0,-1-1 0,0 1 0,0-1 0,-1 0 0,1 0 0,-1 0 0,0 0 0,0-1 0,0 1 0,-9 4 0,-21 14 0,-48 42 0,-16 10 0,73-62-1365,14-10-5461</inkml:trace>
</inkml:ink>
</file>

<file path=ppt/ink/ink3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6:11.039"/>
    </inkml:context>
    <inkml:brush xml:id="br0">
      <inkml:brushProperty name="width" value="0.025" units="cm"/>
      <inkml:brushProperty name="height" value="0.025" units="cm"/>
      <inkml:brushProperty name="color" value="#E71224"/>
    </inkml:brush>
  </inkml:definitions>
  <inkml:trace contextRef="#ctx0" brushRef="#br0">197 1 24575,'-10'1'0,"1"1"0,0 1 0,0 0 0,0 0 0,1 0 0,-1 1 0,1 1 0,0 0 0,-9 6 0,7-5 0,1 1 0,-1 0 0,1 0 0,1 1 0,0 0 0,-9 11 0,13-14 0,1 1 0,-1 0 0,1 0 0,1 0 0,-1 0 0,1 1 0,0-1 0,0 1 0,1-1 0,0 1 0,0-1 0,0 9 0,0 0 0,1-1 0,1 1 0,0 0 0,6 29 0,-6-39 0,1 1 0,0-1 0,0 0 0,1 0 0,-1 0 0,1 0 0,0 0 0,0 0 0,1-1 0,-1 0 0,1 1 0,0-1 0,0-1 0,1 1 0,-1-1 0,7 4 0,9 5 0,0-1 0,1-2 0,0 0 0,33 9 0,-45-15 0,0-1 0,0-1 0,1 1 0,-1-1 0,1-1 0,-1 0 0,0 0 0,1-1 0,-1 0 0,1 0 0,-1-1 0,0-1 0,14-5 0,-20 6 0,0 0 0,0 0 0,0 0 0,0 0 0,-1-1 0,1 1 0,-1-1 0,1 0 0,-1 0 0,0 0 0,0 0 0,0 0 0,-1 0 0,1 0 0,1-7 0,2-7 0,0 0 0,1-18 0,-3 18 0,1 1 0,-2-1 0,0 1 0,0-1 0,-3-22 0,1 33 0,-1 1 0,0-1 0,0 1 0,0-1 0,-1 1 0,0 0 0,0-1 0,0 1 0,-1 0 0,1 0 0,-1 0 0,0 1 0,-1-1 0,1 1 0,-1 0 0,-6-5 0,-4-3-341,-2 2 0,1 0-1,-24-11 1,23 13-6485</inkml:trace>
</inkml:ink>
</file>

<file path=ppt/ink/ink3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6:14.276"/>
    </inkml:context>
    <inkml:brush xml:id="br0">
      <inkml:brushProperty name="width" value="0.025" units="cm"/>
      <inkml:brushProperty name="height" value="0.025" units="cm"/>
      <inkml:brushProperty name="color" value="#E71224"/>
    </inkml:brush>
  </inkml:definitions>
  <inkml:trace contextRef="#ctx0" brushRef="#br0">443 185 24575,'-5'-1'0,"0"1"0,1-1 0,-1 0 0,0 0 0,0 0 0,0-1 0,1 0 0,-1 1 0,1-2 0,0 1 0,-1 0 0,-5-6 0,-5-4 0,0-1 0,-12-14 0,16 14 0,-1 2 0,-18-14 0,12 12 0,10 6 0,-2 1 0,1-1 0,0 2 0,-1 0 0,-18-8 0,24 13 0,1-1 0,-1 0 0,1 1 0,-1-1 0,0 1 0,1 0 0,-1 1 0,1-1 0,-1 0 0,0 1 0,1 0 0,-1 0 0,1 0 0,0 0 0,-1 1 0,1-1 0,0 1 0,0 0 0,0 0 0,0 0 0,-5 5 0,0-1 0,0 1 0,1 1 0,1-1 0,-1 1 0,1 0 0,0 1 0,1-1 0,0 1 0,1 0 0,-1 0 0,2 1 0,-5 15 0,3-2 0,1 0 0,2 1 0,0-1 0,2 31 0,-1-10 0,0-31 0,0 0 0,1 0 0,0 0 0,1 0 0,1 0 0,6 25 0,-7-36 0,0 0 0,0 0 0,0 0 0,1 0 0,-1 0 0,1 0 0,-1 0 0,1-1 0,0 1 0,0 0 0,0-1 0,0 0 0,0 1 0,0-1 0,0 0 0,0 0 0,0 0 0,1 0 0,3 1 0,4 0 0,1 0 0,-1-1 0,15 0 0,8 2 0,57 7-682,152-2-1,-219-9-6143</inkml:trace>
</inkml:ink>
</file>

<file path=ppt/ink/ink3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6:15.542"/>
    </inkml:context>
    <inkml:brush xml:id="br0">
      <inkml:brushProperty name="width" value="0.025" units="cm"/>
      <inkml:brushProperty name="height" value="0.025" units="cm"/>
      <inkml:brushProperty name="color" value="#E71224"/>
    </inkml:brush>
  </inkml:definitions>
  <inkml:trace contextRef="#ctx0" brushRef="#br0">0 1 24575,'1'26'0,"0"1"0,2-1 0,9 40 0,55 308 0,-56-330-1365,-5-27-5461</inkml:trace>
</inkml:ink>
</file>

<file path=ppt/ink/ink3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6:16.669"/>
    </inkml:context>
    <inkml:brush xml:id="br0">
      <inkml:brushProperty name="width" value="0.025" units="cm"/>
      <inkml:brushProperty name="height" value="0.025" units="cm"/>
      <inkml:brushProperty name="color" value="#E71224"/>
    </inkml:brush>
  </inkml:definitions>
  <inkml:trace contextRef="#ctx0" brushRef="#br0">1 264 24575,'4'-1'0,"1"-1"0,-1 1 0,1-1 0,-1-1 0,0 1 0,0 0 0,0-1 0,7-5 0,0-1 0,44-28 0,-3-3 0,93-90 0,-131 117-1365,-1 3-5461</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15.250"/>
    </inkml:context>
    <inkml:brush xml:id="br0">
      <inkml:brushProperty name="width" value="0.035" units="cm"/>
      <inkml:brushProperty name="height" value="0.035" units="cm"/>
      <inkml:brushProperty name="color" value="#E71224"/>
    </inkml:brush>
  </inkml:definitions>
  <inkml:trace contextRef="#ctx0" brushRef="#br0">0 10 24575,'4'0'0,"5"0"0,4 0 0,5 0 0,2 0 0,2 0 0,0 0 0,1 0 0,0 0 0,0 0 0,0 0 0,-1 0 0,-3-4 0,-6-1-8191</inkml:trace>
</inkml:ink>
</file>

<file path=ppt/ink/ink3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5T02:16:18.295"/>
    </inkml:context>
    <inkml:brush xml:id="br0">
      <inkml:brushProperty name="width" value="0.025" units="cm"/>
      <inkml:brushProperty name="height" value="0.025" units="cm"/>
      <inkml:brushProperty name="color" value="#E71224"/>
    </inkml:brush>
  </inkml:definitions>
  <inkml:trace contextRef="#ctx0" brushRef="#br0">1 20 24575,'43'0'0,"1"-3"0,59-10 0,-98 12 0,0 0 0,-1 0 0,1 1 0,0-1 0,0 1 0,0 0 0,-1 1 0,1-1 0,0 1 0,0 0 0,-1 0 0,1 0 0,0 1 0,-1 0 0,7 3 0,-6-1 0,0 0 0,0 0 0,-1 0 0,0 1 0,0-1 0,0 1 0,-1 0 0,0 0 0,0 1 0,0-1 0,4 11 0,17 42-1365,-19-40-5461</inkml:trace>
</inkml:ink>
</file>

<file path=ppt/ink/ink3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2:51.738"/>
    </inkml:context>
    <inkml:brush xml:id="br0">
      <inkml:brushProperty name="width" value="0.035" units="cm"/>
      <inkml:brushProperty name="height" value="0.035" units="cm"/>
      <inkml:brushProperty name="color" value="#E71224"/>
    </inkml:brush>
  </inkml:definitions>
  <inkml:trace contextRef="#ctx0" brushRef="#br0">11 5 24575,'-4'0'0,"-2"-4"0</inkml:trace>
</inkml:ink>
</file>

<file path=ppt/ink/ink3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2:48.703"/>
    </inkml:context>
    <inkml:brush xml:id="br0">
      <inkml:brushProperty name="width" value="0.035" units="cm"/>
      <inkml:brushProperty name="height" value="0.035" units="cm"/>
      <inkml:brushProperty name="color" value="#E71224"/>
    </inkml:brush>
  </inkml:definitions>
  <inkml:trace contextRef="#ctx0" brushRef="#br0">140 13 24575,'-6'1'0,"0"-1"0,0 1 0,-1 0 0,1 0 0,0 1 0,0 0 0,0 0 0,0 0 0,1 1 0,-1 0 0,1 0 0,-1 0 0,1 1 0,0-1 0,0 1 0,1 1 0,-1-1 0,-6 9 0,8-9 0,0 0 0,0 1 0,0-1 0,1 1 0,-1 0 0,1 0 0,1 0 0,-1 0 0,1 0 0,-1 0 0,1 0 0,1 0 0,-1 1 0,1-1 0,0 0 0,0 1 0,1-1 0,-1 0 0,1 0 0,0 1 0,1-1 0,2 7 0,-2-9 0,0 0 0,0 0 0,1 0 0,-1 0 0,1-1 0,0 1 0,0-1 0,0 1 0,0-1 0,0 0 0,0-1 0,1 1 0,-1 0 0,1-1 0,-1 0 0,1 1 0,-1-2 0,1 1 0,0 0 0,-1-1 0,1 1 0,7-1 0,12 0 0,0 0 0,31-5 0,-51 4 0,4 0 0,-1 0 0,1 0 0,-1 0 0,1-1 0,-1 0 0,0-1 0,0 1 0,0-1 0,0-1 0,-1 1 0,1-1 0,-1 0 0,6-5 0,-9 7 0,0 0 0,0-1 0,0 0 0,0 1 0,-1-1 0,1 0 0,-1 0 0,0 1 0,0-1 0,0 0 0,0 0 0,-1-1 0,1 1 0,-1 0 0,1 0 0,-1 0 0,0 0 0,0 0 0,-1 0 0,1-1 0,-1 1 0,1 0 0,-1 0 0,0 0 0,0 0 0,0 0 0,-1 1 0,1-1 0,-4-4 0,0-1-97,-1 1-1,-1-1 1,1 1-1,-1 1 1,0-1-1,-1 1 1,0 1-1,0-1 1,0 1-1,0 1 1,-1-1-1,0 1 0,-12-3 1,-3-4-6729</inkml:trace>
</inkml:ink>
</file>

<file path=ppt/ink/ink3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2:40.356"/>
    </inkml:context>
    <inkml:brush xml:id="br0">
      <inkml:brushProperty name="width" value="0.035" units="cm"/>
      <inkml:brushProperty name="height" value="0.035" units="cm"/>
      <inkml:brushProperty name="color" value="#E71224"/>
    </inkml:brush>
  </inkml:definitions>
  <inkml:trace contextRef="#ctx0" brushRef="#br0">5 0 24575,'-2'49'0,"1"-34"0,0 0 0,0 0 0,2 0 0,-1 0 0,2 0 0,6 26 0,-8-40 0,0 0 0,1 0 0,-1 0 0,1 0 0,-1 0 0,1 0 0,-1 0 0,1 0 0,-1-1 0,1 1 0,0 0 0,-1 0 0,1-1 0,0 1 0,0 0 0,0-1 0,-1 1 0,1 0 0,0-1 0,0 1 0,0-1 0,0 0 0,0 1 0,0-1 0,0 0 0,0 0 0,0 1 0,0-1 0,0 0 0,1 0 0,-1 0 0,0 0 0,1-1 0,38-15 0,-6 0 0,58-3-1365,-74 14-5461</inkml:trace>
</inkml:ink>
</file>

<file path=ppt/ink/ink3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2:42.184"/>
    </inkml:context>
    <inkml:brush xml:id="br0">
      <inkml:brushProperty name="width" value="0.035" units="cm"/>
      <inkml:brushProperty name="height" value="0.035" units="cm"/>
      <inkml:brushProperty name="color" value="#E71224"/>
    </inkml:brush>
  </inkml:definitions>
  <inkml:trace contextRef="#ctx0" brushRef="#br0">0 0 24575,'0'5'0,"0"6"0,0 5 0,0 5 0,5-2 0,1 1 0,-1 2 0,0 1 0,-2 1 0,4-3 0,0-1 0,-1 1 0,-1 1 0,-2 2 0,-1 0 0,-2 2 0,1 0 0,-1-4-8191</inkml:trace>
</inkml:ink>
</file>

<file path=ppt/ink/ink3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3:06.918"/>
    </inkml:context>
    <inkml:brush xml:id="br0">
      <inkml:brushProperty name="width" value="0.035" units="cm"/>
      <inkml:brushProperty name="height" value="0.035" units="cm"/>
      <inkml:brushProperty name="color" value="#E71224"/>
    </inkml:brush>
  </inkml:definitions>
  <inkml:trace contextRef="#ctx0" brushRef="#br0">222 0 24575,'-19'0'0,"-1"1"0,1 0 0,0 1 0,-22 6 0,35-7 0,0 1 0,1 0 0,-1 0 0,1 1 0,0-1 0,-1 1 0,1 0 0,1 0 0,-1 1 0,0 0 0,1 0 0,0 0 0,0 0 0,0 0 0,0 1 0,1 0 0,-6 10 0,7-12 0,0 0 0,1 0 0,-1 0 0,1 0 0,0 0 0,-1 1 0,2-1 0,-1 0 0,0 1 0,1-1 0,-1 0 0,1 1 0,0-1 0,0 1 0,1 3 0,0-4 0,1-1 0,0 1 0,-1-1 0,1 0 0,0 0 0,0 0 0,1 1 0,-1-2 0,0 1 0,1 0 0,-1 0 0,1-1 0,-1 0 0,1 1 0,0-1 0,0 0 0,-1 0 0,5 0 0,23 10 0,0-2 0,62 10 0,-77-17 0,0-1 0,1 0 0,-1-1 0,0 0 0,0-1 0,0-1 0,0-1 0,19-5 0,-30 7 0,-1-1 0,1 0 0,-1 0 0,1 0 0,-1 0 0,0-1 0,0 1 0,0-1 0,0 0 0,0 0 0,-1 0 0,1 0 0,-1-1 0,4-6 0,-5 8 0,-1 1 0,1-1 0,0 0 0,0 1 0,-1-1 0,1 0 0,-1 0 0,0 0 0,1 0 0,-1 0 0,0 1 0,0-1 0,0 0 0,0 0 0,0 0 0,-1 0 0,1 0 0,-1 0 0,1 1 0,-1-1 0,0 0 0,1 0 0,-1 1 0,0-1 0,0 0 0,0 1 0,0-1 0,-1 1 0,1-1 0,0 1 0,-1 0 0,-1-2 0,-8-4-170,0 2-1,0-1 0,0 2 1,0-1-1,-1 1 0,0 1 1,-12-2-1,-3 0-6655</inkml:trace>
</inkml:ink>
</file>

<file path=ppt/ink/ink3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3:08.620"/>
    </inkml:context>
    <inkml:brush xml:id="br0">
      <inkml:brushProperty name="width" value="0.035" units="cm"/>
      <inkml:brushProperty name="height" value="0.035" units="cm"/>
      <inkml:brushProperty name="color" value="#E71224"/>
    </inkml:brush>
  </inkml:definitions>
  <inkml:trace contextRef="#ctx0" brushRef="#br0">0 0 24575,'0'5'0,"0"5"0,0 6 0,0 5 0,0 3 0,0 2 0,0 2 0,5-1 0,1 1 0,-1-1 0,0 1 0,-2-2 0,-1 1 0,-1 0 0,-1-6-8191</inkml:trace>
</inkml:ink>
</file>

<file path=ppt/ink/ink3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3:12.216"/>
    </inkml:context>
    <inkml:brush xml:id="br0">
      <inkml:brushProperty name="width" value="0.035" units="cm"/>
      <inkml:brushProperty name="height" value="0.035" units="cm"/>
      <inkml:brushProperty name="color" value="#E71224"/>
    </inkml:brush>
  </inkml:definitions>
  <inkml:trace contextRef="#ctx0" brushRef="#br0">42 19 24575,'-1'1'0,"0"-1"0,0 1 0,0-1 0,0 1 0,-1 0 0,1-1 0,0 1 0,0 0 0,0 0 0,0-1 0,1 1 0,-1 0 0,0 0 0,0 0 0,1 0 0,-1 0 0,0 1 0,1-1 0,-1 0 0,1 0 0,-1 0 0,1 0 0,0 1 0,-1-1 0,1 0 0,0 0 0,0 3 0,-5 39 0,5-38 0,-17 168 0,17-171 0,0 0 0,0-1 0,0 1 0,1 0 0,-1 0 0,0-1 0,1 1 0,-1 0 0,1 0 0,-1-1 0,1 1 0,0-1 0,-1 1 0,1 0 0,0-1 0,0 0 0,0 1 0,1-1 0,-1 0 0,0 1 0,0-1 0,1 0 0,-1 0 0,1 0 0,-1 0 0,1 0 0,-1 0 0,1-1 0,0 1 0,-1 0 0,1-1 0,0 1 0,-1-1 0,1 0 0,0 0 0,0 1 0,2-1 0,12 1 0,0 0 0,0-1 0,20-2 0,-17 1 0,-9 1 0,0 0 0,0-1 0,1 0 0,-1-1 0,0 0 0,13-5 0,-19 5 0,-1 1 0,0-1 0,0 0 0,0 0 0,0 0 0,0-1 0,-1 1 0,1-1 0,-1 0 0,1 1 0,-1-1 0,0 0 0,0 0 0,0-1 0,0 1 0,-1 0 0,0-1 0,1 1 0,-1 0 0,0-1 0,0-5 0,1 2 8,-1-1-1,0 0 1,0-1-1,-1 1 1,0 0-1,0 0 1,-1 0-1,0 0 1,0 0-1,-1 0 1,0 0-1,-1 1 1,0-1-1,0 1 1,-5-9-1,2 7-142,0 0 0,-1 1 0,0-1 0,0 2 0,-1-1 0,0 1 0,0 0 0,0 1 0,-1-1 0,-19-8 0,13 7-6691</inkml:trace>
</inkml:ink>
</file>

<file path=ppt/ink/ink3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3:18.361"/>
    </inkml:context>
    <inkml:brush xml:id="br0">
      <inkml:brushProperty name="width" value="0.035" units="cm"/>
      <inkml:brushProperty name="height" value="0.035" units="cm"/>
      <inkml:brushProperty name="color" value="#E71224"/>
    </inkml:brush>
  </inkml:definitions>
  <inkml:trace contextRef="#ctx0" brushRef="#br0">20 75 24575,'0'47'0,"-2"-20"0,2 0 0,1 1 0,1-1 0,1 0 0,1 0 0,14 45 0,-26-101 0,2-1 0,0 0 0,2-1 0,1 0 0,2 1 0,3-45 0,-1 70 0,1 0 0,0 0 0,0 0 0,0 1 0,0-1 0,1 1 0,0-1 0,-1 1 0,2 0 0,-1 0 0,0 0 0,1 1 0,0-1 0,0 1 0,0 0 0,0 0 0,7-4 0,-7 4 0,1 0 0,0 1 0,0-1 0,0 1 0,0 0 0,0 0 0,0 0 0,0 1 0,1 0 0,-1 0 0,0 0 0,1 1 0,-1-1 0,1 1 0,-1 1 0,8 0 0,-10 1 0,1 0 0,-1 0 0,0 0 0,0 0 0,-1 0 0,1 1 0,0-1 0,-1 1 0,0 0 0,0 0 0,1 0 0,-2 0 0,1 0 0,0 0 0,-1 1 0,1-1 0,1 7 0,0-1 0,0 0 0,-1 0 0,0 1 0,-1-1 0,1 17 0,-2-21 0,0-1 0,-1 1 0,1-1 0,-1 1 0,0-1 0,0 0 0,-1 1 0,1-1 0,-1 0 0,0 0 0,0 0 0,-4 6 0,0-3 0,-1 1 0,-1-1 0,1 0 0,-11 8 0,17-15 0,1 1 0,-1-1 0,0 1 0,0-1 0,0 1 0,1 0 0,-1 0 0,0-1 0,1 1 0,-1 0 0,1 0 0,-1 0 0,1 0 0,-1-1 0,1 1 0,-1 0 0,1 0 0,0 0 0,-1 2 0,2-2 0,-1-1 0,0 1 0,0-1 0,1 1 0,-1-1 0,1 1 0,-1-1 0,0 1 0,1-1 0,-1 1 0,1-1 0,-1 1 0,1-1 0,-1 0 0,1 1 0,-1-1 0,1 0 0,0 0 0,-1 1 0,1-1 0,-1 0 0,1 0 0,0 0 0,54 6 0,-30-4 0,-19 0 0,-1 0 0,0 0 0,1 1 0,-1-1 0,0 1 0,-1 1 0,1-1 0,0 1 0,-1 0 0,0 0 0,0 0 0,0 0 0,0 1 0,-1 0 0,0-1 0,0 1 0,0 1 0,-1-1 0,1 0 0,-1 1 0,2 9 0,-2-11 0,-1 0 0,0 0 0,0 0 0,0 0 0,-1 0 0,1 0 0,-1 0 0,0 0 0,0 0 0,0 0 0,-1 0 0,1 0 0,-1 0 0,0 0 0,0 0 0,-1 0 0,1-1 0,-1 1 0,0 0 0,0-1 0,0 1 0,0-1 0,-1 0 0,1 1 0,-1-1 0,0-1 0,0 1 0,0 0 0,0-1 0,0 1 0,-1-1 0,-3 2 0,-27 10 0,0-1 0,-1-3 0,-50 10 0,81-19-50,0-1-1,0 0 1,0 0-1,0-1 0,0 1 1,0-1-1,0 0 1,0 0-1,0 0 1,1 0-1,-1-1 0,0 0 1,0 1-1,1-1 1,0-1-1,-1 1 1,1 0-1,0-1 0,0 0 1,0 0-1,0 1 1,1-2-1,-1 1 1,1 0-1,0-1 1,-3-4-1,-5-9-6775</inkml:trace>
</inkml:ink>
</file>

<file path=ppt/ink/ink3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3:19.736"/>
    </inkml:context>
    <inkml:brush xml:id="br0">
      <inkml:brushProperty name="width" value="0.035" units="cm"/>
      <inkml:brushProperty name="height" value="0.035" units="cm"/>
      <inkml:brushProperty name="color" value="#E71224"/>
    </inkml:brush>
  </inkml:definitions>
  <inkml:trace contextRef="#ctx0" brushRef="#br0">109 0 24575,'-4'0'0,"-11"0"0,-12 0 0,-6 0 0,3 0-8191</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17.705"/>
    </inkml:context>
    <inkml:brush xml:id="br0">
      <inkml:brushProperty name="width" value="0.035" units="cm"/>
      <inkml:brushProperty name="height" value="0.035" units="cm"/>
      <inkml:brushProperty name="color" value="#E71224"/>
    </inkml:brush>
  </inkml:definitions>
  <inkml:trace contextRef="#ctx0" brushRef="#br0">1 0 24575,'4'0'0,"5"0"0,4 0 0,4 0 0,3 0 0,6 0 0,2 0 0,-1 0 0,0 0 0,-1 0 0,-2 0 0,0 0 0,-1 0 0,-5 0-8191</inkml:trace>
</inkml:ink>
</file>

<file path=ppt/ink/ink3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3:20.801"/>
    </inkml:context>
    <inkml:brush xml:id="br0">
      <inkml:brushProperty name="width" value="0.035" units="cm"/>
      <inkml:brushProperty name="height" value="0.035" units="cm"/>
      <inkml:brushProperty name="color" value="#E71224"/>
    </inkml:brush>
  </inkml:definitions>
  <inkml:trace contextRef="#ctx0" brushRef="#br0">0 0 24575,'0'5'0,"0"5"0,0 6 0,0 5 0,0 3 0,0 2 0,0 2 0,0-5-8191</inkml:trace>
</inkml:ink>
</file>

<file path=ppt/ink/ink3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3:24.914"/>
    </inkml:context>
    <inkml:brush xml:id="br0">
      <inkml:brushProperty name="width" value="0.035" units="cm"/>
      <inkml:brushProperty name="height" value="0.035" units="cm"/>
      <inkml:brushProperty name="color" value="#E71224"/>
    </inkml:brush>
  </inkml:definitions>
  <inkml:trace contextRef="#ctx0" brushRef="#br0">79 0 24575,'-2'5'0,"-1"-1"0,1-1 0,-1 1 0,0 0 0,-1-1 0,1 1 0,-1-1 0,-3 3 0,-11 11 0,14-12 0,1 0 0,0 1 0,0-1 0,0 1 0,0 0 0,1-1 0,0 1 0,0 0 0,1 0 0,-1 0 0,1 1 0,1-1 0,-1 0 0,1 0 0,0 1 0,1-1 0,-1 0 0,1 0 0,0 0 0,1 0 0,-1 0 0,1 0 0,1 0 0,-1 0 0,6 9 0,-4-8 0,0 0 0,1 0 0,0-1 0,0 1 0,1-1 0,0 0 0,0 0 0,0-1 0,0 0 0,1 0 0,0-1 0,0 1 0,0-2 0,1 1 0,0-1 0,-1 0 0,1 0 0,0-1 0,9 2 0,-13-4 0,0 0 0,0 0 0,0 0 0,-1 0 0,1 0 0,0-1 0,0 0 0,0 0 0,0 0 0,0 0 0,0-1 0,-1 1 0,1-1 0,-1 0 0,1 0 0,-1 0 0,0 0 0,0-1 0,0 0 0,0 1 0,0-1 0,0 0 0,-1 0 0,0 0 0,1-1 0,-1 1 0,0-1 0,-1 1 0,3-7 0,3-8 0,0-1 0,-2 0 0,-1 0 0,4-31 0,-7 47 6,-1-1-1,1 1 1,-1 0-1,0-1 0,0 1 1,0-1-1,-1 1 1,1-1-1,-1 1 1,0 0-1,0-1 1,0 1-1,0 0 0,-1 0 1,1 0-1,-1 0 1,0 0-1,0 0 1,0 0-1,0 1 1,-4-4-1,2 2-119,-1 1 0,0 0-1,0 0 1,0 0 0,0 1 0,0-1-1,-1 1 1,1 1 0,-1-1 0,1 1-1,-1 0 1,-6 0 0,-12-1-6712</inkml:trace>
</inkml:ink>
</file>

<file path=ppt/ink/ink3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3:27.728"/>
    </inkml:context>
    <inkml:brush xml:id="br0">
      <inkml:brushProperty name="width" value="0.035" units="cm"/>
      <inkml:brushProperty name="height" value="0.035" units="cm"/>
      <inkml:brushProperty name="color" value="#E71224"/>
    </inkml:brush>
  </inkml:definitions>
  <inkml:trace contextRef="#ctx0" brushRef="#br0">163 19 24575,'-1'-1'0,"-1"-1"0,0 0 0,0 1 0,0-1 0,1 1 0,-2 0 0,1 0 0,0-1 0,0 1 0,0 1 0,0-1 0,-1 0 0,1 0 0,0 1 0,-1 0 0,1-1 0,0 1 0,-1 0 0,1 0 0,-4 0 0,2 1 0,0 1 0,0-1 0,0 0 0,0 1 0,1 0 0,-1 0 0,1 0 0,-1 0 0,1 0 0,0 1 0,-4 3 0,0 1 0,0 0 0,1 1 0,0 0 0,0 0 0,1 0 0,0 0 0,1 1 0,-1 0 0,-3 13 0,6-14 0,0 1 0,0-1 0,1 1 0,0-1 0,1 0 0,0 1 0,0-1 0,1 1 0,0-1 0,0 1 0,1-1 0,5 13 0,-5-16 0,0-1 0,0 1 0,1-1 0,-1 0 0,1 0 0,0 0 0,1-1 0,-1 1 0,1-1 0,-1 1 0,1-1 0,0 0 0,0-1 0,1 1 0,-1-1 0,0 1 0,1-1 0,-1-1 0,1 1 0,0-1 0,0 0 0,8 2 0,1-1 0,1 0 0,-1-1 0,0-1 0,0 0 0,1-1 0,19-3 0,-30 3 0,0 0 0,-1 0 0,1 0 0,0 0 0,-1-1 0,1 0 0,-1 1 0,0-1 0,0 0 0,1-1 0,-1 1 0,-1 0 0,1-1 0,0 0 0,-1 1 0,1-1 0,-1 0 0,0-1 0,0 1 0,0 0 0,0 0 0,0-1 0,-1 1 0,0-1 0,1 0 0,-2 1 0,1-1 0,1-5 0,0-6 0,-1-1 0,-1 1 0,0 0 0,0 0 0,-5-22 0,5 34 0,-1-1 0,0 0 0,0 0 0,0 1 0,-1-1 0,1 1 0,-1-1 0,0 1 0,0 0 0,0-1 0,0 1 0,-1 0 0,1 0 0,-1 1 0,1-1 0,-1 0 0,0 1 0,0 0 0,-1 0 0,1 0 0,0 0 0,-1 0 0,1 1 0,-1-1 0,1 1 0,-6-1 0,-33-3-10,34 4-141,0 1 1,0-1-1,0 0 1,1-1-1,-1 0 1,0 0-1,1 0 1,-13-7-1,7 0-6675</inkml:trace>
</inkml:ink>
</file>

<file path=ppt/ink/ink3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3:29.246"/>
    </inkml:context>
    <inkml:brush xml:id="br0">
      <inkml:brushProperty name="width" value="0.035" units="cm"/>
      <inkml:brushProperty name="height" value="0.035" units="cm"/>
      <inkml:brushProperty name="color" value="#E71224"/>
    </inkml:brush>
  </inkml:definitions>
  <inkml:trace contextRef="#ctx0" brushRef="#br0">55 0 24575,'0'5'0,"-4"5"0,-2 11 0,-5 1 0,1 2 0,1 6 0,2 1 0,3 1 0,2 0 0,0-2 0,2 3 0,0 1 0,1-1 0,-1-2 0,1-2 0,-1 0 0,5-7 0,1-5-8191</inkml:trace>
</inkml:ink>
</file>

<file path=ppt/ink/ink3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04.823"/>
    </inkml:context>
    <inkml:brush xml:id="br0">
      <inkml:brushProperty name="width" value="0.035" units="cm"/>
      <inkml:brushProperty name="height" value="0.035" units="cm"/>
      <inkml:brushProperty name="color" value="#E71224"/>
    </inkml:brush>
  </inkml:definitions>
  <inkml:trace contextRef="#ctx0" brushRef="#br0">0 27 24575,'283'-13'0,"-45"1"0,619 32 0,-414-13 0,-269-9 0,55-11 0,10 0 0,1042 13 0,-858 27 0,-95-3 0,-35 4 0,10-1 0,-44-28 0,57 2 0,-169 12 0,39 2 0,-169-16 0,12 2 0,-52 8 0,-28 0 0,-76 4 0,12-2 0,0-1 0,-195-8 0,145-5 0,-1769 3 0,1722 14 0,-6 0 0,-27-17 0,-282 5 0,296 11 0,-151 1 0,27-31 0,-18 1 0,-30-4 0,161-6 0,671 56 0,28-34 0,-379 3 0,216-13 0,75 1 0,-360 13 0,-5 1 0,0-1 0,0 1 0,0-1 0,0 0 0,0 0 0,0-1 0,0 1 0,-1-1 0,1 0 0,0 0 0,0 0 0,0 0 0,-1-1 0,6-2 0,-9 3 0,-1 1 0,1-1 0,0 1 0,-1-1 0,1 0 0,-1 1 0,1-1 0,-1 1 0,1-1 0,-1 1 0,1-1 0,-1 1 0,0 0 0,1-1 0,-1 1 0,0 0 0,1-1 0,-1 1 0,0 0 0,1 0 0,-1 0 0,0 0 0,0-1 0,1 1 0,-1 0 0,0 0 0,-1 1 0,-23-5 0,-245-20 0,160 16 0,-153 8 0,106 2 0,-679-2 0,1048 1 0,565-22 0,-327 13 0,-266 10 0,1369-2 0,-1215 24 0,-119-5 0,-171-16 0,327 5 0,-350-14 0,-25 6 0,0 0 0,0-1 0,0 1 0,0-1 0,0 1 0,-1 0 0,1-1 0,0 1 0,0 0 0,0-1 0,0 1 0,0-1 0,-1 1 0,1 0 0,0 0 0,0-1 0,-1 1 0,1 0 0,0-1 0,0 1 0,-1 0 0,1 0 0,0-1 0,-1 1 0,1 0 0,0 0 0,-1 0 0,1-1 0,-1 1 0,1 0 0,0 0 0,-1 0 0,-48-16 0,-36 3 0,0 5 0,-166 4 0,155 4 0,-1260 2 0,1320 1 0,1 1 0,0 2 0,0 1 0,-64 23 0,97-30 0,1 0 0,0 0 0,-1 0 0,1 1 0,0-1 0,0 0 0,-1 1 0,1-1 0,0 1 0,0 0 0,0-1 0,-1 1 0,1 0 0,0 0 0,0 0 0,0 0 0,0 0 0,1 0 0,-1 0 0,0 0 0,0 0 0,1 0 0,-1 0 0,-1 3 0,3-3 0,-1 0 0,1 0 0,0 1 0,-1-1 0,1 0 0,0 0 0,0 0 0,0 0 0,0 0 0,0 0 0,0 0 0,0 0 0,0 0 0,0-1 0,0 1 0,0 0 0,1-1 0,-1 1 0,2 0 0,15 6 0,1 0 0,24 5 0,-39-11 0,41 7 0,-1-2 0,1-1 0,-1-3 0,62-5 0,-21 2 0,910 0 0,-793-12 0,4-1 0,1509 15 0,-1578-13 0,-8 0 0,140 11 0,139-7 0,-396 7 0,-2 1 0,0 0 0,1-1 0,-1 0 0,0-1 0,0 0 0,0-1 0,0 0 0,-1-1 0,11-4 0,-20 8 0,1 0 0,-1-1 0,1 1 0,0 0 0,-1-1 0,1 1 0,-1 0 0,1-1 0,-1 1 0,1 0 0,-1-1 0,0 1 0,1-1 0,-1 1 0,1-1 0,-1 1 0,0-1 0,1 1 0,-1-1 0,0 0 0,0 1 0,0-1 0,1 1 0,-1-1 0,0 0 0,0 1 0,0-1 0,0 1 0,0-1 0,0 0 0,0 1 0,0-1 0,0 0 0,-1 0 0,-19-13 0,-34 1 0,4 10 0,0 3 0,0 1 0,-58 10 0,-54 2 0,-48-9 0,-245 10 0,-33-1 0,14 0 0,-70-2 0,551-12 0,-1 1 0,0-1 0,0 0 0,1-1 0,-1 1 0,7-4 0,22-5 0,87-9-87,212-5 0,-210 18-1104,-4 0-5635</inkml:trace>
</inkml:ink>
</file>

<file path=ppt/ink/ink3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27.291"/>
    </inkml:context>
    <inkml:brush xml:id="br0">
      <inkml:brushProperty name="width" value="0.035" units="cm"/>
      <inkml:brushProperty name="height" value="0.035" units="cm"/>
      <inkml:brushProperty name="color" value="#E71224"/>
    </inkml:brush>
  </inkml:definitions>
  <inkml:trace contextRef="#ctx0" brushRef="#br0">27 0 24575,'0'5'0,"-4"1"0,-2 4 0,0 5 0,2 4 0,1 4 0,1 2 0,1-2-8191</inkml:trace>
</inkml:ink>
</file>

<file path=ppt/ink/ink3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55.682"/>
    </inkml:context>
    <inkml:brush xml:id="br0">
      <inkml:brushProperty name="width" value="0.035" units="cm"/>
      <inkml:brushProperty name="height" value="0.035" units="cm"/>
      <inkml:brushProperty name="color" value="#E71224"/>
    </inkml:brush>
  </inkml:definitions>
  <inkml:trace contextRef="#ctx0" brushRef="#br0">51 0 24575,'-21'57'0,"17"-47"0,-2 8 0,1 1 0,0 0 0,2 0 0,0 0 0,-1 30 0,4-44 0,1-1 0,-1 1 0,1-1 0,0 1 0,0-1 0,0 1 0,1-1 0,0 0 0,-1 0 0,1 0 0,1 0 0,-1 0 0,1 0 0,-1 0 0,1-1 0,0 0 0,0 1 0,1-1 0,-1 0 0,1 0 0,-1-1 0,1 1 0,0-1 0,0 0 0,0 0 0,0 0 0,1 0 0,-1-1 0,7 2 0,-6-1 0,1-1 0,-1 0 0,0 0 0,1 0 0,-1 0 0,1-1 0,-1 0 0,0 0 0,1 0 0,-1-1 0,1 0 0,-1 0 0,0 0 0,1-1 0,-1 1 0,0-1 0,0-1 0,0 1 0,-1-1 0,6-3 0,-7 3 0,1-1 0,0 0 0,-1 0 0,0 0 0,0-1 0,0 1 0,0-1 0,-1 0 0,0 0 0,0 0 0,0 0 0,-1 0 0,1 0 0,-1 0 0,0 0 0,-1-1 0,1 1 0,-1 0 0,0-1 0,-1-7 0,0 6 0,-1 0 0,1 0 0,-1 1 0,0-1 0,0 0 0,-1 1 0,0 0 0,0-1 0,0 1 0,-1 1 0,0-1 0,0 0 0,-1 1 0,-8-8 0,6 6 0,-1 0 0,0 1 0,-1 0 0,1 0 0,-1 1 0,-1 0 0,1 1 0,-20-7 0,4 3-1365,5 0-5461</inkml:trace>
</inkml:ink>
</file>

<file path=ppt/ink/ink3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58.433"/>
    </inkml:context>
    <inkml:brush xml:id="br0">
      <inkml:brushProperty name="width" value="0.035" units="cm"/>
      <inkml:brushProperty name="height" value="0.035" units="cm"/>
      <inkml:brushProperty name="color" value="#E71224"/>
    </inkml:brush>
  </inkml:definitions>
  <inkml:trace contextRef="#ctx0" brushRef="#br0">0 0 24575,'11'44'0,"-1"-12"0,-2 15 0,21 65 0,-28-109 0,0 1 0,0-1 0,0 0 0,0 0 0,1 0 0,-1 0 0,1 0 0,0-1 0,0 1 0,0 0 0,0-1 0,0 1 0,0-1 0,1 0 0,-1 0 0,1 0 0,0 0 0,-1 0 0,1-1 0,0 1 0,0-1 0,0 1 0,0-1 0,1 0 0,-1-1 0,0 1 0,0 0 0,1-1 0,-1 0 0,0 0 0,0 0 0,1 0 0,-1 0 0,0-1 0,5 0 0,-2-1 0,0 0 0,0 0 0,0-1 0,0 1 0,-1-1 0,1-1 0,-1 1 0,0-1 0,0 0 0,0 0 0,0 0 0,-1-1 0,0 1 0,0-1 0,0 0 0,0 0 0,5-11 0,-6 9 0,0 0 0,-1 0 0,1 0 0,-1 0 0,-1 0 0,1 0 0,-1 0 0,-1-1 0,1 1 0,-1 0 0,0-1 0,-1 1 0,0 0 0,0 0 0,-1-1 0,0 1 0,0 0 0,0 0 0,-1 1 0,0-1 0,0 0 0,-1 1 0,0 0 0,-6-9 0,10 15 0,0 0 0,0 1 0,0-1 0,0 0 0,0 0 0,0 0 0,0 0 0,-1 0 0,1 0 0,0 0 0,0 0 0,0 0 0,0 0 0,0 0 0,0 0 0,0 0 0,0 0 0,0 0 0,0 0 0,0 0 0,0 1 0,0-1 0,0 0 0,0 0 0,0 0 0,0 0 0,-1 0 0,1 0 0,0 0 0,0 0 0,0 0 0,0 0 0,0 0 0,0 0 0,0 0 0,0 0 0,0 0 0,0 0 0,6 14 0,10 18 0,44 90 0,-44-85 0,-11-27-151,0-1-1,1 1 0,0-1 0,1-1 1,-1 1-1,2-1 0,-1 0 1,9 7-1,-2-5-6674</inkml:trace>
</inkml:ink>
</file>

<file path=ppt/ink/ink3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59.903"/>
    </inkml:context>
    <inkml:brush xml:id="br0">
      <inkml:brushProperty name="width" value="0.035" units="cm"/>
      <inkml:brushProperty name="height" value="0.035" units="cm"/>
      <inkml:brushProperty name="color" value="#E71224"/>
    </inkml:brush>
  </inkml:definitions>
  <inkml:trace contextRef="#ctx0" brushRef="#br0">23 0 24575,'-20'57'0,"19"-45"0,0 1 0,0 0 0,1-1 0,1 1 0,0 0 0,5 18 0,24 78 0,-18-68 0,9 44 0,-11-41 0,17 45 0,19 20 0,-13 14-1365,-26-107-5461</inkml:trace>
</inkml:ink>
</file>

<file path=ppt/ink/ink3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5:01.045"/>
    </inkml:context>
    <inkml:brush xml:id="br0">
      <inkml:brushProperty name="width" value="0.035" units="cm"/>
      <inkml:brushProperty name="height" value="0.035" units="cm"/>
      <inkml:brushProperty name="color" value="#E71224"/>
    </inkml:brush>
  </inkml:definitions>
  <inkml:trace contextRef="#ctx0" brushRef="#br0">0 27 24575,'5'0'0,"5"0"0,6 0 0,10 0 0,8 0 0,8 0 0,11 0 0,-5-4 0,-5-2 0,-5 0 0,-6 1 0,-3 2 0,-6 1-8191</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38:48.694"/>
    </inkml:context>
    <inkml:brush xml:id="br0">
      <inkml:brushProperty name="width" value="0.035" units="cm"/>
      <inkml:brushProperty name="height" value="0.035" units="cm"/>
      <inkml:brushProperty name="color" value="#E71224"/>
    </inkml:brush>
  </inkml:definitions>
  <inkml:trace contextRef="#ctx0" brushRef="#br0">0 54 24575,'413'-14'96,"15"0"-1322,-212 15-3920,0-1 3702,431 0 7728,-215 0-4848,990 0-7982,-380 0 7439,-810-3 964,111-8-4363,13 1 2323,-116 7 6668,537 24-6485,-170-13 0,-361-10 0,-54 0 0,215 4 0,-252 11 0,80 2 0,992-16 0,-356-20 0,-125 12 0,-424 12 0,-169-4 0,45-1 0,212 26 0,172 34 0,-563-57 0,0 1 0,0 0 0,0 2 0,0 0 0,0 1 0,-1 1 0,0 1 0,0 1 0,30 18 0,2 4 0,-31-20 0,-1 1 0,0 1 0,-1 0 0,31 30 0,-39-29 0,0 0 0,-1 1 0,0 1 0,-1-1 0,8 26 0,-2-8 0,15 37 0,25 94 0,-44-124 0,-1 0 0,-2 0 0,-2 1 0,0 47 0,-4-72 0,2 0 0,0-1 0,1 1 0,0-1 0,1 0 0,7 17 0,-5-16 0,-1 0 0,-1 0 0,0 1 0,-1 0 0,2 23 0,-7 57 0,-1-70 0,2 0 0,0 0 0,2-1 0,1 1 0,2 0 0,0 0 0,1-1 0,9 25 0,16 12 0,10 29 0,-39-84-2,0 0 0,0 1 0,0-1 0,-1 0 0,-1 0 0,1 0 0,-1 0 0,0 0 0,0 1 0,-1-2 0,0 1 0,0 0 0,-1 0 0,-5 8 0,-6 27-1333,7-19-5491</inkml:trace>
</inkml:ink>
</file>

<file path=ppt/ink/ink3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5:02.218"/>
    </inkml:context>
    <inkml:brush xml:id="br0">
      <inkml:brushProperty name="width" value="0.035" units="cm"/>
      <inkml:brushProperty name="height" value="0.035" units="cm"/>
      <inkml:brushProperty name="color" value="#E71224"/>
    </inkml:brush>
  </inkml:definitions>
  <inkml:trace contextRef="#ctx0" brushRef="#br0">0 0 24575,'5'0'0,"1"5"0,0 5 0,-1 6 0,-2 5 0,3-1 0,1 0 0,-1-3-8191</inkml:trace>
</inkml:ink>
</file>

<file path=ppt/ink/ink3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09.466"/>
    </inkml:context>
    <inkml:brush xml:id="br0">
      <inkml:brushProperty name="width" value="0.035" units="cm"/>
      <inkml:brushProperty name="height" value="0.035" units="cm"/>
      <inkml:brushProperty name="color" value="#E71224"/>
    </inkml:brush>
  </inkml:definitions>
  <inkml:trace contextRef="#ctx0" brushRef="#br0">0 0 24575,'0'5'0,"0"6"0,0 5 0,0 4 0,0 4 0,0 3 0,0 0 0,0 0 0,0 1 0,0 4 0,0 1 0,0 0 0,0-2 0,0-1 0,0-2 0,0-5-8191</inkml:trace>
</inkml:ink>
</file>

<file path=ppt/ink/ink3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11.577"/>
    </inkml:context>
    <inkml:brush xml:id="br0">
      <inkml:brushProperty name="width" value="0.035" units="cm"/>
      <inkml:brushProperty name="height" value="0.035" units="cm"/>
      <inkml:brushProperty name="color" value="#E71224"/>
    </inkml:brush>
  </inkml:definitions>
  <inkml:trace contextRef="#ctx0" brushRef="#br0">0 0 24575,'4'0'0,"7"0"0,0 0 0,0 1 0,0 0 0,19 4 0,-27-4 0,0 0 0,0 1 0,0-1 0,0 1 0,0-1 0,0 1 0,0 0 0,0 0 0,-1 0 0,1 1 0,-1-1 0,1 1 0,-1-1 0,0 1 0,0 0 0,0-1 0,-1 1 0,1 0 0,1 6 0,17 47 0,-3 1 0,13 83 0,-29-135 0,-1 1 0,0-1 0,0 1 0,0-1 0,-1 1 0,1-1 0,-1 0 0,-1 1 0,1-1 0,-1 0 0,0 0 0,0 0 0,-1 0 0,1 0 0,-7 8 0,4-5 0,-2 0 0,1-1 0,-1 0 0,0 0 0,0 0 0,0-1 0,-17 11 0,-9 8-1365,22-11-5461</inkml:trace>
</inkml:ink>
</file>

<file path=ppt/ink/ink3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13.530"/>
    </inkml:context>
    <inkml:brush xml:id="br0">
      <inkml:brushProperty name="width" value="0.035" units="cm"/>
      <inkml:brushProperty name="height" value="0.035" units="cm"/>
      <inkml:brushProperty name="color" value="#E71224"/>
    </inkml:brush>
  </inkml:definitions>
  <inkml:trace contextRef="#ctx0" brushRef="#br0">2 44 24575,'0'30'0,"-1"-16"0,1-1 0,0 1 0,1 0 0,0-1 0,5 20 0,-5-30 0,0 0 0,1 0 0,-1 0 0,0 0 0,1 0 0,0 0 0,0 0 0,0 0 0,0-1 0,0 1 0,1-1 0,-1 1 0,1-1 0,-1 0 0,1 0 0,0 0 0,0 0 0,0-1 0,0 1 0,0-1 0,0 0 0,0 0 0,1 0 0,-1 0 0,0 0 0,7 0 0,-1 0 0,0-1 0,0 0 0,0 0 0,0 0 0,0-1 0,0-1 0,0 0 0,0 0 0,0 0 0,13-7 0,-18 7 0,0 0 0,0 0 0,0-1 0,0 1 0,0-1 0,-1 0 0,1 0 0,-1 0 0,0-1 0,0 1 0,0-1 0,-1 1 0,1-1 0,-1 0 0,0 0 0,0 0 0,0-1 0,0 1 0,-1 0 0,0-1 0,0 1 0,0-1 0,0-4 0,-1 5 3,0 1-1,-1-1 0,1 1 1,-1-1-1,0 1 1,1 0-1,-2-1 0,1 1 1,0 0-1,-1 0 0,1 0 1,-1 0-1,0 0 1,0 0-1,0 0 0,-1 1 1,1-1-1,0 1 1,-1-1-1,0 1 0,1 0 1,-1 0-1,0 0 1,0 1-1,0-1 0,-6-1 1,-11-6-110,0 2 1,0 0 0,-28-4 0,13 2-899,10 2-5821</inkml:trace>
</inkml:ink>
</file>

<file path=ppt/ink/ink3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15.126"/>
    </inkml:context>
    <inkml:brush xml:id="br0">
      <inkml:brushProperty name="width" value="0.035" units="cm"/>
      <inkml:brushProperty name="height" value="0.035" units="cm"/>
      <inkml:brushProperty name="color" value="#E71224"/>
    </inkml:brush>
  </inkml:definitions>
  <inkml:trace contextRef="#ctx0" brushRef="#br0">0 0 24575,'0'5'0,"5"5"0,1 6 0,-1 5 0,4-1 0,1 0 0,-3 1 0,-1 2 0,-2-3-8191</inkml:trace>
</inkml:ink>
</file>

<file path=ppt/ink/ink3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20.098"/>
    </inkml:context>
    <inkml:brush xml:id="br0">
      <inkml:brushProperty name="width" value="0.035" units="cm"/>
      <inkml:brushProperty name="height" value="0.035" units="cm"/>
      <inkml:brushProperty name="color" value="#E71224"/>
    </inkml:brush>
  </inkml:definitions>
  <inkml:trace contextRef="#ctx0" brushRef="#br0">1 233 24575,'-1'-67'0,"3"-76"0,-2 142 0,0 0 0,0 0 0,0 0 0,0 0 0,0 0 0,0 1 0,0-1 0,1 0 0,-1 0 0,0 0 0,1 0 0,-1 0 0,0 1 0,1-1 0,-1 0 0,1 0 0,-1 1 0,1-1 0,-1 0 0,1 1 0,0-1 0,-1 0 0,1 1 0,0-1 0,0 1 0,-1-1 0,1 1 0,0 0 0,0-1 0,0 1 0,1-1 0,0 1 0,0 1 0,0-1 0,1 0 0,-1 1 0,0-1 0,0 1 0,0-1 0,0 1 0,0 0 0,0 0 0,0 0 0,3 2 0,6 4 0,-1 1 0,1 0 0,12 14 0,17 28 0,-35-42 0,1 1 0,0-1 0,0 0 0,1-1 0,0 1 0,0-1 0,1-1 0,0 1 0,0-1 0,1-1 0,12 7 0,-20-11 0,0 0 0,0-1 0,0 1 0,0-1 0,0 1 0,0-1 0,0 1 0,0-1 0,0 0 0,0 0 0,0 1 0,0-1 0,0 0 0,1 0 0,-1 0 0,0 0 0,0 0 0,0 0 0,0-1 0,0 1 0,0 0 0,0-1 0,0 1 0,0 0 0,0-1 0,0 1 0,0-1 0,0 1 0,0-1 0,0 0 0,0 0 0,0 1 0,-1-1 0,1 0 0,0 0 0,-1 0 0,1 0 0,0 1 0,-1-1 0,1 0 0,-1 0 0,1 0 0,-1 0 0,0-1 0,1 1 0,-1 0 0,0 0 0,0 0 0,0 0 0,0 0 0,0 0 0,0 0 0,0 0 0,0 0 0,0-1 0,-1 0 0,-1-11 0,0 0 0,-1 0 0,-9-23 0,6 21 0,-1-12-1365,1 2-5461</inkml:trace>
</inkml:ink>
</file>

<file path=ppt/ink/ink3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20.801"/>
    </inkml:context>
    <inkml:brush xml:id="br0">
      <inkml:brushProperty name="width" value="0.035" units="cm"/>
      <inkml:brushProperty name="height" value="0.035" units="cm"/>
      <inkml:brushProperty name="color" value="#E71224"/>
    </inkml:brush>
  </inkml:definitions>
  <inkml:trace contextRef="#ctx0" brushRef="#br0">0 0 24575,'0'5'0,"0"5"0,0 6 0,0 5 0,0 3 0,0 2 0,5-3 0,1-6-8191</inkml:trace>
</inkml:ink>
</file>

<file path=ppt/ink/ink3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22.209"/>
    </inkml:context>
    <inkml:brush xml:id="br0">
      <inkml:brushProperty name="width" value="0.035" units="cm"/>
      <inkml:brushProperty name="height" value="0.035" units="cm"/>
      <inkml:brushProperty name="color" value="#E71224"/>
    </inkml:brush>
  </inkml:definitions>
  <inkml:trace contextRef="#ctx0" brushRef="#br0">0 0 24575,'0'559'-1365,"0"-536"-5461</inkml:trace>
</inkml:ink>
</file>

<file path=ppt/ink/ink3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23.492"/>
    </inkml:context>
    <inkml:brush xml:id="br0">
      <inkml:brushProperty name="width" value="0.035" units="cm"/>
      <inkml:brushProperty name="height" value="0.035" units="cm"/>
      <inkml:brushProperty name="color" value="#E71224"/>
    </inkml:brush>
  </inkml:definitions>
  <inkml:trace contextRef="#ctx0" brushRef="#br0">0 0 24575,'5'0'0,"10"0"0,7 0 0,5 0 0,6 0 0,2 0 0,0 0 0,-1 0 0,-7 0-8191</inkml:trace>
</inkml:ink>
</file>

<file path=ppt/ink/ink3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41.114"/>
    </inkml:context>
    <inkml:brush xml:id="br0">
      <inkml:brushProperty name="width" value="0.035" units="cm"/>
      <inkml:brushProperty name="height" value="0.035" units="cm"/>
      <inkml:brushProperty name="color" value="#E71224"/>
    </inkml:brush>
  </inkml:definitions>
  <inkml:trace contextRef="#ctx0" brushRef="#br0">2 0 24575,'-1'85'0,"3"95"0,0-165 0,1 0 0,1 0 0,0 0 0,1-1 0,1 0 0,0 0 0,1 0 0,11 17 0,21 45 0,-35-62 26,0 0 0,-1 0-1,3 21 1,1 9-1494,-2-21-5358</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39:21.425"/>
    </inkml:context>
    <inkml:brush xml:id="br0">
      <inkml:brushProperty name="width" value="0.05" units="cm"/>
      <inkml:brushProperty name="height" value="0.05" units="cm"/>
      <inkml:brushProperty name="color" value="#AE198D"/>
      <inkml:brushProperty name="inkEffects" value="galaxy"/>
      <inkml:brushProperty name="anchorX" value="0"/>
      <inkml:brushProperty name="anchorY" value="0"/>
      <inkml:brushProperty name="scaleFactor" value="0.5"/>
    </inkml:brush>
  </inkml:definitions>
  <inkml:trace contextRef="#ctx0" brushRef="#br0">2599 1 24575,'0'0'0,"0"4"0,0 8 0,0 4 0,5 5 0,1 3 0,-1 1 0,0 3 0,-2-1 0,-1 1 0,-1-1 0,-1 0 0,0 0 0,6-5 0,-1-1 0,0 0 0,0 1 0,-2 1 0,-1 1 0,-1 1 0,-1 1 0,0 1 0,0 0 0,0-1 0,0 1 0,0 0 0,-1-1 0,1 6 0,0 0 0,0 0 0,0-1 0,0-2 0,0 0 0,0-1 0,0-2 0,0 1 0,0-1 0,0 0 0,0 6 0,0-1 0,0 1 0,0-1 0,0-1 0,5-7 0,1-1 0,-1 0 0,0 0 0,-2 1 0,-1 1 0,-1 1 0,-1 1 0,0 0 0,0 1 0,0-1 0,5-4 0,1-1 0,4-5 0,0 1 0,-2 0 0,-1 3 0,-3 3 0,-1 0 0,-2 3 0,5 0 0,-1 0 0,0 1 0,-1 0 0,-1 0 0,4-6 0,0 6 0,-2-1 0,0 2 0,-2 0 0,4 5 0,-1 5 0,0 0 0,-2-2 0,0-1 0,-3-4 0,0-1 0,0-2 0,-7-1 0,-5-6 0,-11-5 0,-4-6 0,-3 0 0,-2-2 0,1-2 0,5 2 0,-3 0 0,-5-2 0,-1-1 0,1-2 0,1-2 0,-4 0 0,1-1 0,-3 0 0,-4 0 0,1-1 0,-2 1 0,7-5 0,-1-1 0,-2 1 0,-9 0 0,-3 2 0,-9 1 0,4 1 0,6 1 0,6 0 0,7 0 0,5 0 0,3-5 0,2 0 0,2 0 0,5-5 0,-5 1 0,-6 2 0,-1 1 0,-6 2 0,1 2 0,1 1 0,-3 1 0,2 5 0,2 1 0,3 0 0,2-1 0,2-1 0,1-2 0,0-1 0,1 0 0,0-1 0,0 0 0,-5-1 0,-6 1 0,0 0 0,1 0 0,-4 0 0,-2 0 0,-4 0 0,-3 5 0,-2 0 0,-1 0 0,4 0 0,6-2 0,4-1 0,5-1 0,4 0 0,1-1 0,2 0 0,-10-1 0,-5 6 0,-6 0 0,-4 11 0,3-1 0,5-1 0,4-3 0,5-3 0,4-9 0,2-2 0,7-7 0,6-5 0,6-5 0,4 2 0,3 9 0,2-1 0,1-3 0,5 3 0,6 2 0,10 2 0,5 2 0,3 2 0,0 2 0,-5-6 0,5-4 0,-1 0 0,-6-5 0,-5 2 0</inkml:trace>
</inkml:ink>
</file>

<file path=ppt/ink/ink3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43.148"/>
    </inkml:context>
    <inkml:brush xml:id="br0">
      <inkml:brushProperty name="width" value="0.035" units="cm"/>
      <inkml:brushProperty name="height" value="0.035" units="cm"/>
      <inkml:brushProperty name="color" value="#E71224"/>
    </inkml:brush>
  </inkml:definitions>
  <inkml:trace contextRef="#ctx0" brushRef="#br0">1 0 24575,'-1'68'0,"3"76"0,-2-142 0,1 1 0,-1 0 0,1-1 0,0 1 0,-1-1 0,1 1 0,0-1 0,1 1 0,-1-1 0,0 0 0,1 0 0,-1 1 0,1-1 0,0 0 0,-1 0 0,1 0 0,0-1 0,0 1 0,0 0 0,1-1 0,2 2 0,0 0 0,0-1 0,1 0 0,-1-1 0,0 1 0,0-1 0,1 0 0,-1 0 0,1-1 0,-1 1 0,9-2 0,-7 1 0,0-1 0,0 0 0,0 0 0,0-1 0,-1 0 0,1 0 0,0-1 0,7-3 0,-11 4 0,0 0 0,0 1 0,-1-1 0,1 0 0,0-1 0,-1 1 0,1 0 0,-1-1 0,0 1 0,0-1 0,0 0 0,0 0 0,0 1 0,-1-1 0,1-1 0,1-4 0,0-2 0,-1 0 0,-1 0 0,1 0 0,-1-1 0,-1 1 0,0 0 0,0-1 0,-1 1 0,-3-12 0,3 19 0,0-1 0,0 0 0,0 1 0,-1-1 0,1 0 0,-1 1 0,0 0 0,0-1 0,0 1 0,-1 0 0,1 0 0,-1 0 0,1 1 0,-1-1 0,0 0 0,0 1 0,0 0 0,-1 0 0,1 0 0,0 0 0,-1 0 0,0 1 0,1 0 0,-1-1 0,0 1 0,-5 0 0,-102-17-1365,87 15-5461</inkml:trace>
</inkml:ink>
</file>

<file path=ppt/ink/ink3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45.383"/>
    </inkml:context>
    <inkml:brush xml:id="br0">
      <inkml:brushProperty name="width" value="0.035" units="cm"/>
      <inkml:brushProperty name="height" value="0.035" units="cm"/>
      <inkml:brushProperty name="color" value="#E71224"/>
    </inkml:brush>
  </inkml:definitions>
  <inkml:trace contextRef="#ctx0" brushRef="#br0">4 384 24575,'-1'-64'0,"-1"33"0,2-1 0,1 1 0,1 0 0,2 0 0,9-41 0,-10 66 0,0 0 0,0 1 0,1-1 0,0 1 0,0-1 0,0 1 0,0 1 0,1-1 0,0 0 0,0 1 0,0 0 0,0 0 0,1 1 0,0-1 0,-1 1 0,1 1 0,0-1 0,11-2 0,-15 3 0,1 1 0,0 0 0,0 1 0,0-1 0,0 0 0,0 1 0,0-1 0,0 1 0,0 0 0,0 0 0,0 0 0,0 1 0,0-1 0,0 1 0,0-1 0,-1 1 0,1 0 0,0 0 0,0 0 0,0 1 0,-1-1 0,1 1 0,-1-1 0,1 1 0,-1 0 0,0 0 0,0 0 0,1 0 0,-2 1 0,1-1 0,0 0 0,0 1 0,-1-1 0,1 1 0,-1 0 0,0-1 0,1 1 0,-2 0 0,1 0 0,0 0 0,0 4 0,9 48 0,-3 0 0,1 79 0,3-32-1365,-12-85-5461</inkml:trace>
</inkml:ink>
</file>

<file path=ppt/ink/ink3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46.525"/>
    </inkml:context>
    <inkml:brush xml:id="br0">
      <inkml:brushProperty name="width" value="0.035" units="cm"/>
      <inkml:brushProperty name="height" value="0.035" units="cm"/>
      <inkml:brushProperty name="color" value="#E71224"/>
    </inkml:brush>
  </inkml:definitions>
  <inkml:trace contextRef="#ctx0" brushRef="#br0">0 0 24575,'5'0'0,"5"0"0,7 0 0,3 0 0,4 0 0,-2 0-8191</inkml:trace>
</inkml:ink>
</file>

<file path=ppt/ink/ink3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4:49.228"/>
    </inkml:context>
    <inkml:brush xml:id="br0">
      <inkml:brushProperty name="width" value="0.035" units="cm"/>
      <inkml:brushProperty name="height" value="0.035" units="cm"/>
      <inkml:brushProperty name="color" value="#E71224"/>
    </inkml:brush>
  </inkml:definitions>
  <inkml:trace contextRef="#ctx0" brushRef="#br0">28 338 24575,'-1'-19'0,"-1"0"0,-8-37 0,5 35 0,1 0 0,-1-27 0,4 33 0,1 0 0,1 0 0,1 1 0,5-23 0,-7 34 0,0 1 0,1-1 0,0 0 0,-1 0 0,1 1 0,1-1 0,-1 1 0,0-1 0,0 1 0,1-1 0,-1 1 0,1 0 0,0 0 0,0 0 0,0 0 0,0 0 0,0 0 0,0 0 0,1 1 0,-1-1 0,0 1 0,1-1 0,-1 1 0,1 0 0,0 0 0,-1 0 0,1 1 0,0-1 0,-1 0 0,1 1 0,3 0 0,-4 0 0,0 1 0,-1-1 0,1 1 0,0-1 0,0 1 0,-1 0 0,1 0 0,-1 0 0,1 0 0,-1 0 0,1 0 0,-1 1 0,1-1 0,-1 0 0,0 1 0,0-1 0,0 1 0,0-1 0,0 1 0,0 0 0,0-1 0,0 1 0,0 3 0,14 49 0,-14-46 0,38 188 0,-39-194 0,0 1 0,1-1 0,-1 0 0,1 0 0,0 0 0,-1 1 0,1-1 0,0 0 0,1 0 0,-1 0 0,0 0 0,0 0 0,1-1 0,-1 1 0,1 0 0,0-1 0,-1 1 0,1-1 0,0 1 0,0-1 0,0 0 0,0 0 0,0 0 0,0 0 0,0 0 0,1 0 0,-1-1 0,0 1 0,0-1 0,1 1 0,-1-1 0,0 0 0,0 0 0,1 0 0,-1 0 0,0 0 0,1-1 0,-1 1 0,0-1 0,0 1 0,1-1 0,-1 0 0,0 0 0,0 0 0,0 0 0,0 0 0,0-1 0,0 1 0,-1-1 0,1 1 0,0-1 0,-1 1 0,1-1 0,-1 0 0,1 0 0,-1 0 0,0 0 0,0 0 0,0 0 0,0 0 0,0 0 0,0 0 0,-1 0 0,1-1 0,-1 1 0,1-3 0,2-17-45,-1 1-1,-1-1 0,-3-41 1,1 29-1138,0 11-5643</inkml:trace>
</inkml:ink>
</file>

<file path=ppt/ink/ink3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5:16.132"/>
    </inkml:context>
    <inkml:brush xml:id="br0">
      <inkml:brushProperty name="width" value="0.035" units="cm"/>
      <inkml:brushProperty name="height" value="0.035" units="cm"/>
      <inkml:brushProperty name="color" value="#E71224"/>
    </inkml:brush>
  </inkml:definitions>
  <inkml:trace contextRef="#ctx0" brushRef="#br0">38 197 24575,'0'-4'0,"0"-7"0,0-5 0,-4-5 0,-2-3 0,0-2 0,2-1 0,1 0 0,-4 3 0,0 7-8191</inkml:trace>
</inkml:ink>
</file>

<file path=ppt/ink/ink3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26.251"/>
    </inkml:context>
    <inkml:brush xml:id="br0">
      <inkml:brushProperty name="width" value="0.035" units="cm"/>
      <inkml:brushProperty name="height" value="0.035" units="cm"/>
      <inkml:brushProperty name="color" value="#E71224"/>
    </inkml:brush>
  </inkml:definitions>
  <inkml:trace contextRef="#ctx0" brushRef="#br0">28 0 24575,'-1'26'0,"-2"-1"0,-7 34 0,5-31 0,-3 46 0,8-55-97,0 0-1,2-1 1,0 1-1,2-1 1,0 0-1,0 0 1,2 0-1,0-1 1,1 1-1,1-1 1,1-1-1,0 0 0,13 18 1,-3-12-6729</inkml:trace>
</inkml:ink>
</file>

<file path=ppt/ink/ink3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29.629"/>
    </inkml:context>
    <inkml:brush xml:id="br0">
      <inkml:brushProperty name="width" value="0.035" units="cm"/>
      <inkml:brushProperty name="height" value="0.035" units="cm"/>
      <inkml:brushProperty name="color" value="#E71224"/>
    </inkml:brush>
  </inkml:definitions>
  <inkml:trace contextRef="#ctx0" brushRef="#br0">1 123 24575,'0'-4'0,"-1"0"0,1 0 0,0 0 0,0 0 0,1 0 0,-1 0 0,1 0 0,0 0 0,0 1 0,0-1 0,0 0 0,1 0 0,-1 1 0,1-1 0,0 0 0,0 1 0,1 0 0,-1 0 0,1-1 0,-1 1 0,1 1 0,0-1 0,0 0 0,0 1 0,1-1 0,-1 1 0,1 0 0,-1 0 0,1 1 0,-1-1 0,1 1 0,0-1 0,0 1 0,0 0 0,0 1 0,0-1 0,5 1 0,18-6 0,-11 3 0,0 0 0,1 1 0,31-1 0,-43 4 0,1-1 0,-1 1 0,0 0 0,0 0 0,0 0 0,-1 1 0,1 0 0,0 0 0,0 0 0,-1 0 0,1 1 0,-1 0 0,0 0 0,0 0 0,0 0 0,0 1 0,3 4 0,-1 0 0,0 0 0,-1 0 0,0 0 0,-1 1 0,0 0 0,0 0 0,0 0 0,-2 1 0,1-1 0,-1 1 0,0-1 0,0 12 0,-1 8 0,0 1 0,-7 50 0,5-76 0,1-1 0,-1 1 0,0-1 0,0 0 0,0 1 0,-1-1 0,1 0 0,-1 0 0,0 0 0,0 0 0,0 0 0,0 0 0,0-1 0,-1 1 0,1-1 0,-5 4 0,-4 2 0,0-1 0,0 0 0,-16 6 0,18-9 0,0 0 0,-1 1 0,2 1 0,-15 10 0,23-16 0,-1 0 0,1 1 0,-1-1 0,1 0 0,0 1 0,-1-1 0,1 1 0,-1-1 0,1 1 0,0-1 0,-1 1 0,1-1 0,0 1 0,0-1 0,-1 1 0,1-1 0,0 1 0,0-1 0,0 1 0,0-1 0,0 1 0,0 0 0,0-1 0,0 1 0,0-1 0,0 1 0,0 0 0,0-1 0,0 1 0,0-1 0,1 2 0,16 8 0,30-2 0,-46-8 0,109 0 45,-82-1-327,-1 1 0,1 0 0,-1 3 0,31 5 0,-36-2-6544</inkml:trace>
</inkml:ink>
</file>

<file path=ppt/ink/ink3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32.381"/>
    </inkml:context>
    <inkml:brush xml:id="br0">
      <inkml:brushProperty name="width" value="0.035" units="cm"/>
      <inkml:brushProperty name="height" value="0.035" units="cm"/>
      <inkml:brushProperty name="color" value="#E71224"/>
    </inkml:brush>
  </inkml:definitions>
  <inkml:trace contextRef="#ctx0" brushRef="#br0">0 33 24575,'1'16'0,"1"0"0,1 0 0,6 22 0,0 6 0,2 19 0,0 4 0,3 0 0,23 65 0,-36-128 0,0-1 0,1 1 0,-1 0 0,1-1 0,0 1 0,0-1 0,0 0 0,1 1 0,-1-1 0,1 0 0,0-1 0,0 1 0,0 0 0,0-1 0,0 1 0,0-1 0,1 0 0,-1 0 0,1-1 0,0 1 0,-1-1 0,1 1 0,0-1 0,0 0 0,0-1 0,5 1 0,-4-1 0,0 0 0,1-1 0,-1 1 0,0-1 0,0 0 0,0-1 0,0 0 0,0 1 0,0-2 0,0 1 0,0 0 0,-1-1 0,1 0 0,-1 0 0,0 0 0,0-1 0,0 1 0,0-1 0,4-6 0,3-3 0,0 0 0,-1 0 0,-1 0 0,12-22 0,-19 32 0,0-1 0,0 0 0,-1 0 0,1-1 0,-1 1 0,0 0 0,-1 0 0,1-1 0,-1 1 0,0 0 0,0-1 0,0 1 0,0 0 0,-1-1 0,0 1 0,0 0 0,-2-8 0,-6-17 0,9 29 0,0 0 0,0 0 0,1-1 0,-1 1 0,0 0 0,0 0 0,0 0 0,0 0 0,1 0 0,-1 0 0,0-1 0,0 1 0,0 0 0,1 0 0,-1 0 0,0 0 0,0 0 0,0 0 0,1 0 0,-1 0 0,0 0 0,0 0 0,1 0 0,-1 0 0,0 0 0,0 0 0,0 0 0,1 0 0,-1 0 0,0 1 0,0-1 0,0 0 0,1 0 0,-1 0 0,0 0 0,0 0 0,0 0 0,0 1 0,1-1 0,-1 0 0,0 0 0,0 0 0,0 0 0,0 1 0,0-1 0,0 0 0,0 0 0,1 0 0,-1 1 0,0-1 0,0 0 0,0 0 0,0 1 0,37 44 0,-29-35 0,5 7 0,0 2 0,1-1 0,1-1 0,1 0 0,23 18 0,-35-31 0,1 0 0,0-1 0,0 0 0,0 0 0,1-1 0,-1 1 0,1-1 0,-1 0 0,1-1 0,0 1 0,-1-1 0,1 0 0,0-1 0,0 1 0,0-1 0,0 0 0,0-1 0,0 0 0,-1 1 0,1-2 0,10-2 0,-9 2 0,0-1 0,-1 0 0,0 0 0,1 0 0,-1 0 0,0-1 0,0 0 0,-1 0 0,1-1 0,-1 0 0,0 0 0,-1 0 0,1 0 0,-1-1 0,0 0 0,0 0 0,4-9 0,-5 7 0,0 0 0,-1 0 0,-1-1 0,1 1 0,-1 0 0,-1-1 0,1 1 0,-2-1 0,1 1 0,-1-1 0,0 1 0,-1 0 0,0-1 0,-4-9 0,-95-241-866,92 241 367,3 2-6327</inkml:trace>
</inkml:ink>
</file>

<file path=ppt/ink/ink3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34.772"/>
    </inkml:context>
    <inkml:brush xml:id="br0">
      <inkml:brushProperty name="width" value="0.035" units="cm"/>
      <inkml:brushProperty name="height" value="0.035" units="cm"/>
      <inkml:brushProperty name="color" value="#E71224"/>
    </inkml:brush>
  </inkml:definitions>
  <inkml:trace contextRef="#ctx0" brushRef="#br0">29 133 24575,'51'2'0,"-36"0"0,1-1 0,-1-1 0,1 0 0,-1-1 0,1-1 0,-1-1 0,27-7 0,-41 10 0,1-1 0,0 1 0,0-1 0,0 0 0,0 0 0,-1 0 0,1 0 0,0 0 0,-1 0 0,1-1 0,-1 1 0,1 0 0,-1-1 0,0 1 0,0-1 0,1 1 0,-1-1 0,0 0 0,0 0 0,-1 1 0,1-1 0,0 0 0,-1 0 0,1 0 0,-1 0 0,1 0 0,-1 0 0,0 0 0,0 0 0,0 0 0,0-3 0,-1 2 0,0 1 0,0-1 0,0 1 0,0-1 0,-1 1 0,1-1 0,-1 1 0,0 0 0,1 0 0,-1 0 0,0 0 0,0 0 0,0 0 0,-1 1 0,1-1 0,0 0 0,-1 1 0,1 0 0,-1 0 0,1 0 0,-6-2 0,-4-1 0,-61-15 0,66 17 0,1 1 0,-1 1 0,1-1 0,-1 1 0,1 0 0,-1 0 0,1 1 0,-1 0 0,-6 2 0,9-1 0,1-1 0,0 1 0,-1 1 0,1-1 0,0 0 0,0 1 0,1-1 0,-1 1 0,1 0 0,-1 0 0,1 0 0,0 0 0,0 1 0,0-1 0,0 0 0,1 1 0,-1 0 0,1-1 0,0 1 0,-1 5 0,-2 7 0,2 0 0,-1 1 0,1 22 0,2-29 0,0 0 0,1 1 0,0-1 0,1 0 0,0 0 0,0 0 0,1 0 0,0-1 0,1 1 0,0-1 0,1 0 0,0 0 0,9 13 0,-9-16 0,0 0 0,0-1 0,1 1 0,0-1 0,0-1 0,0 1 0,1-1 0,0 0 0,-1 0 0,1-1 0,0 0 0,1 0 0,-1-1 0,1 1 0,-1-2 0,1 1 0,-1-1 0,10 0 0,-3 0-195,0 0 0,-1-1 0,1-1 0,0 0 0,-1-1 0,14-3 0,-9-2-6631</inkml:trace>
</inkml:ink>
</file>

<file path=ppt/ink/ink3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36.930"/>
    </inkml:context>
    <inkml:brush xml:id="br0">
      <inkml:brushProperty name="width" value="0.035" units="cm"/>
      <inkml:brushProperty name="height" value="0.035" units="cm"/>
      <inkml:brushProperty name="color" value="#E71224"/>
    </inkml:brush>
  </inkml:definitions>
  <inkml:trace contextRef="#ctx0" brushRef="#br0">0 232 24575,'124'2'0,"128"-4"0,-246 1 0,0 1 0,0-1 0,0 0 0,0 0 0,0-1 0,0 0 0,9-4 0,-14 6 0,0-1 0,0 1 0,0-1 0,0 0 0,0 1 0,0-1 0,0 0 0,0 0 0,-1 0 0,1 0 0,0 0 0,0 0 0,-1 0 0,1 0 0,-1 0 0,1 0 0,-1 0 0,1 0 0,-1 0 0,0-1 0,1 1 0,-1 0 0,0 0 0,0 0 0,0 0 0,0-1 0,0 1 0,0 0 0,0 0 0,-1 0 0,1-1 0,0 1 0,-1 0 0,1 0 0,0 0 0,-1 0 0,0 0 0,1 0 0,-1 0 0,1 0 0,-1 0 0,0 0 0,-1-1 0,-9-11 0,-1 1 0,0 1 0,-1 0 0,0 1 0,-1 0 0,0 1 0,-1 0 0,1 2 0,-2-1 0,-15-4 0,-43-24 0,67 32 0,1 1 0,-1 0 0,0 0 0,0 0 0,-1 1 0,1 0 0,0 0 0,-1 1 0,1 0 0,-1 1 0,1-1 0,-12 2 0,16 0 0,0-1 0,0 1 0,0 0 0,0 0 0,1 0 0,-1 0 0,0 0 0,0 1 0,1 0 0,-1-1 0,1 1 0,0 0 0,-1 0 0,1 0 0,0 0 0,0 0 0,0 1 0,1-1 0,-1 1 0,1-1 0,-1 1 0,1 0 0,0-1 0,0 1 0,0 0 0,0 0 0,0 0 0,1 0 0,-1 0 0,1 0 0,0 0 0,0 0 0,0 0 0,0 3 0,2 17 0,1 0 0,1 0 0,1-1 0,0 1 0,2-1 0,13 29 0,0 2 0,-17-45 0,1-1 0,1 1 0,-1-1 0,1 0 0,1 0 0,-1-1 0,1 0 0,0 0 0,1 0 0,11 8 0,-6-5 0,1 0 0,1-1 0,0 0 0,29 11 0,-32-15-76,0-1 1,1-1-1,0 1 0,0-2 0,-1 0 0,1 0 0,0-1 0,0 0 1,0-1-1,0-1 0,0 1 0,-1-2 0,1 0 0,-1 0 1,1-1-1,-1-1 0,12-6 0,-1-5-675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39:23.708"/>
    </inkml:context>
    <inkml:brush xml:id="br0">
      <inkml:brushProperty name="width" value="0.05" units="cm"/>
      <inkml:brushProperty name="height" value="0.05" units="cm"/>
      <inkml:brushProperty name="color" value="#AE198D"/>
      <inkml:brushProperty name="inkEffects" value="galaxy"/>
      <inkml:brushProperty name="anchorX" value="3615.34131"/>
      <inkml:brushProperty name="anchorY" value="-791.55621"/>
      <inkml:brushProperty name="scaleFactor" value="0.5"/>
    </inkml:brush>
  </inkml:definitions>
  <inkml:trace contextRef="#ctx0" brushRef="#br0">0 1 24575,'0'0'0,"5"4"0,6 2 0,0 5 0,5-1 0,-3 4 0,3-2 0,-3 3 0,2-3 0,-2 3 0,2-2 0,-3 2 0,3-3 0,-3 2 0,2-2 0,3-3 0,-2 3 0,2-2 0,2-3 0,-3 3 0,-3-1 0</inkml:trace>
</inkml:ink>
</file>

<file path=ppt/ink/ink3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38.259"/>
    </inkml:context>
    <inkml:brush xml:id="br0">
      <inkml:brushProperty name="width" value="0.035" units="cm"/>
      <inkml:brushProperty name="height" value="0.035" units="cm"/>
      <inkml:brushProperty name="color" value="#E71224"/>
    </inkml:brush>
  </inkml:definitions>
  <inkml:trace contextRef="#ctx0" brushRef="#br0">0 0 24575,'2'8'0,"-1"0"0,1 0 0,0-1 0,1 1 0,0-1 0,0 0 0,5 9 0,9 22 0,30 168 0,-16-61 0,12-15-1365,-34-110-5461</inkml:trace>
</inkml:ink>
</file>

<file path=ppt/ink/ink3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39.072"/>
    </inkml:context>
    <inkml:brush xml:id="br0">
      <inkml:brushProperty name="width" value="0.035" units="cm"/>
      <inkml:brushProperty name="height" value="0.035" units="cm"/>
      <inkml:brushProperty name="color" value="#E71224"/>
    </inkml:brush>
  </inkml:definitions>
  <inkml:trace contextRef="#ctx0" brushRef="#br0">0 239 24575,'0'-4'0,"0"-7"0,5-5 0,5-9 0,7-1 0,4 0 0,3-4 0,2 2 0,1 2 0,-4 1 0,-6 4-8191</inkml:trace>
</inkml:ink>
</file>

<file path=ppt/ink/ink3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40.480"/>
    </inkml:context>
    <inkml:brush xml:id="br0">
      <inkml:brushProperty name="width" value="0.035" units="cm"/>
      <inkml:brushProperty name="height" value="0.035" units="cm"/>
      <inkml:brushProperty name="color" value="#E71224"/>
    </inkml:brush>
  </inkml:definitions>
  <inkml:trace contextRef="#ctx0" brushRef="#br0">0 0 24575,'0'5'0,"0"6"0,0 5 0,5 5 0,5-2 0,2 1 0,3 6 0,3-1 0,-1-1 0,1-5 0,-3-4-8191</inkml:trace>
</inkml:ink>
</file>

<file path=ppt/ink/ink3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42.199"/>
    </inkml:context>
    <inkml:brush xml:id="br0">
      <inkml:brushProperty name="width" value="0.035" units="cm"/>
      <inkml:brushProperty name="height" value="0.035" units="cm"/>
      <inkml:brushProperty name="color" value="#E71224"/>
    </inkml:brush>
  </inkml:definitions>
  <inkml:trace contextRef="#ctx0" brushRef="#br0">82 540 24575,'-8'-9'0,"1"0"0,0-1 0,0 0 0,1 0 0,0-1 0,1 0 0,0 0 0,0 0 0,2-1 0,-1 1 0,-3-24 0,2-4 0,1-1 0,1-51 0,5 76 0,-1 0 0,2 0 0,0 0 0,1 0 0,0 0 0,1 1 0,0 0 0,2 0 0,-1 0 0,2 1 0,11-16 0,-18 27 0,0 0 0,1 0 0,-1 0 0,1 0 0,-1 0 0,1 0 0,0 0 0,-1 1 0,1-1 0,0 1 0,0-1 0,1 1 0,-1 0 0,0-1 0,0 1 0,0 0 0,1 1 0,-1-1 0,1 0 0,-1 1 0,0-1 0,4 1 0,-3 0 0,0 1 0,0 0 0,1-1 0,-1 1 0,0 1 0,0-1 0,0 0 0,0 1 0,0 0 0,0-1 0,-1 1 0,1 0 0,0 0 0,2 4 0,6 5 0,-1 1 0,-1 0 0,0 1 0,-1 0 0,13 27 0,2 9-195,-3 2 0,-3 0 0,-1 0 0,-3 2 0,-2 0 0,7 82 0,-18-112-6631</inkml:trace>
</inkml:ink>
</file>

<file path=ppt/ink/ink3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43.186"/>
    </inkml:context>
    <inkml:brush xml:id="br0">
      <inkml:brushProperty name="width" value="0.035" units="cm"/>
      <inkml:brushProperty name="height" value="0.035" units="cm"/>
      <inkml:brushProperty name="color" value="#E71224"/>
    </inkml:brush>
  </inkml:definitions>
  <inkml:trace contextRef="#ctx0" brushRef="#br0">0 21 24575,'5'0'0,"5"0"0,15 0 0,8 0 0,7 0 0,1-4 0,-1-2 0,-4 0 0,-8 1-8191</inkml:trace>
</inkml:ink>
</file>

<file path=ppt/ink/ink3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45.153"/>
    </inkml:context>
    <inkml:brush xml:id="br0">
      <inkml:brushProperty name="width" value="0.035" units="cm"/>
      <inkml:brushProperty name="height" value="0.035" units="cm"/>
      <inkml:brushProperty name="color" value="#E71224"/>
    </inkml:brush>
  </inkml:definitions>
  <inkml:trace contextRef="#ctx0" brushRef="#br0">54 401 24575,'-1'-23'0,"-2"0"0,-1 1 0,-1-1 0,-9-28 0,8 35 0,1 0 0,1 0 0,0-1 0,1 1 0,1-1 0,0 0 0,2 1 0,0-1 0,4-33 0,-4 47 0,1 0 0,0 0 0,0 0 0,0 0 0,0 0 0,1 0 0,-1 0 0,1 0 0,-1 1 0,1-1 0,0 1 0,0-1 0,0 1 0,0 0 0,6-4 0,-7 5 0,1 0 0,0 0 0,0 0 0,0 0 0,0 1 0,1-1 0,-1 1 0,0 0 0,0-1 0,0 1 0,0 0 0,0 0 0,1 1 0,-1-1 0,0 0 0,0 1 0,0-1 0,2 2 0,2 0 0,0 1 0,-1 0 0,1 0 0,-1 0 0,0 1 0,0 0 0,0 0 0,-1 0 0,1 0 0,-1 1 0,0 0 0,0 0 0,-1 0 0,5 8 0,8 22 0,21 65 0,0 3 0,-36-100 0,0-1 0,-1 1 0,1-1 0,1 0 0,-1 1 0,0-1 0,0 0 0,1 0 0,-1 0 0,1 0 0,0 0 0,0 0 0,0 0 0,0-1 0,0 1 0,0-1 0,0 1 0,0-1 0,0 0 0,1 0 0,-1 0 0,1 0 0,-1 0 0,1 0 0,2 0 0,-2-2 0,-1 0 0,0 0 0,1 0 0,-1 0 0,0 0 0,1 0 0,-1-1 0,0 1 0,0-1 0,0 1 0,0-1 0,0 0 0,0 0 0,-1 0 0,1 0 0,-1 0 0,1 0 0,-1 0 0,0 0 0,0-1 0,0 1 0,0 0 0,0-1 0,1-4 0,31-110 0,-23 76 0,2 0 0,23-53 0,-35 93-80,1 0 24,-1 0 0,0 0 1,1 0-1,-1 0 0,1 0 0,-1 0 0,1 0 0,-1 0 0,1 0 0,0 0 0,-1 0 1,1 0-1,0 1 0,0-1 0,0 0 0,-1 1 0,1-1 0,0 0 0,0 1 1,0-1-1,0 1 0,2-1 0,2 4-6770</inkml:trace>
</inkml:ink>
</file>

<file path=ppt/ink/ink3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47.528"/>
    </inkml:context>
    <inkml:brush xml:id="br0">
      <inkml:brushProperty name="width" value="0.035" units="cm"/>
      <inkml:brushProperty name="height" value="0.035" units="cm"/>
      <inkml:brushProperty name="color" value="#E71224"/>
    </inkml:brush>
  </inkml:definitions>
  <inkml:trace contextRef="#ctx0" brushRef="#br0">30 421 24575,'-1'0'0,"0"0"0,0-1 0,0 1 0,-1-1 0,1 0 0,0 1 0,0-1 0,0 0 0,0 0 0,0 1 0,0-1 0,1 0 0,-1 0 0,0 0 0,0 0 0,0 0 0,1 0 0,-1-1 0,1 1 0,-1 0 0,1 0 0,-1 0 0,1 0 0,0-1 0,0 1 0,-1 0 0,1-3 0,-5-39 0,5 38 0,-4-149 0,5 138 0,1 0 0,0 1 0,1-1 0,0 0 0,1 1 0,1-1 0,10-21 0,-13 34 0,-1 1 0,0-1 0,1 0 0,0 1 0,-1-1 0,1 1 0,0-1 0,0 1 0,1 0 0,-1 0 0,0 0 0,1 0 0,-1 0 0,1 0 0,0 1 0,-1-1 0,1 1 0,0 0 0,0 0 0,5-2 0,-4 3 0,-1 0 0,1 0 0,0 1 0,0-1 0,0 1 0,-1 0 0,1 0 0,0 0 0,-1 0 0,1 1 0,-1-1 0,1 1 0,-1 0 0,5 3 0,3 4 0,0 0 0,-1 0 0,0 1 0,-1 0 0,0 1 0,0 0 0,-1 0 0,7 15 0,9 24-254,-3 2 0,16 56-1,-30-87-347,1 2-6224</inkml:trace>
</inkml:ink>
</file>

<file path=ppt/ink/ink3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48.357"/>
    </inkml:context>
    <inkml:brush xml:id="br0">
      <inkml:brushProperty name="width" value="0.035" units="cm"/>
      <inkml:brushProperty name="height" value="0.035" units="cm"/>
      <inkml:brushProperty name="color" value="#E71224"/>
    </inkml:brush>
  </inkml:definitions>
  <inkml:trace contextRef="#ctx0" brushRef="#br0">0 28 24575,'5'0'0,"5"-4"0,11-2 0,15 0 0,10 1 0,2 2 0,2 1 0,-3 1 0,-5 0 0,-1 1 0,1 0 0,4 1 0,-7-1-8191</inkml:trace>
</inkml:ink>
</file>

<file path=ppt/ink/ink3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50"/>
    </inkml:context>
    <inkml:brush xml:id="br0">
      <inkml:brushProperty name="width" value="0.035" units="cm"/>
      <inkml:brushProperty name="height" value="0.035" units="cm"/>
      <inkml:brushProperty name="color" value="#E71224"/>
    </inkml:brush>
  </inkml:definitions>
  <inkml:trace contextRef="#ctx0" brushRef="#br0">1 0 24575,'0'40'0,"1"0"0,1-1 0,3 1 0,1-1 0,12 39 0,-5-33-227,-2 1-1,-2 1 1,-2 0-1,-2 0 1,-1 55-1,-4-80-6598</inkml:trace>
</inkml:ink>
</file>

<file path=ppt/ink/ink3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51.064"/>
    </inkml:context>
    <inkml:brush xml:id="br0">
      <inkml:brushProperty name="width" value="0.035" units="cm"/>
      <inkml:brushProperty name="height" value="0.035" units="cm"/>
      <inkml:brushProperty name="color" value="#E71224"/>
    </inkml:brush>
  </inkml:definitions>
  <inkml:trace contextRef="#ctx0" brushRef="#br0">0 0 24575,'0'5'0,"0"5"0,0 11 0,5 1 0,1 2 0,0 1 0,3 1 0,0 0 0,3-3 0,0-3 0,-2-3-819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0:14.559"/>
    </inkml:context>
    <inkml:brush xml:id="br0">
      <inkml:brushProperty name="width" value="0.035" units="cm"/>
      <inkml:brushProperty name="height" value="0.035" units="cm"/>
    </inkml:brush>
  </inkml:definitions>
  <inkml:trace contextRef="#ctx0" brushRef="#br0">0 1298 24575,'4'-1'0,"0"-1"0,0 1 0,-1-1 0,1 0 0,0 0 0,-1 0 0,0 0 0,1 0 0,-1-1 0,0 0 0,0 0 0,-1 1 0,5-7 0,15-12 0,4 0 0,0-2 0,-2-1 0,-1-1 0,37-52 0,-35 44 0,1 1 0,54-51 0,-58 63 0,0-1 0,-2-1 0,-1-1 0,25-36 0,-36 47 0,2 1 0,-1 0 0,1 0 0,1 1 0,0 0 0,1 1 0,22-14 0,8 0 0,48-20 0,-56 29 0,-1-2 0,58-38 0,-38 15 0,154-110 0,-109 88 0,205-95 0,-263 141 0,0 1 0,1 3 0,1 1 0,-1 1 0,70-3 0,219 9 0,-175 6 0,3159-3-2738,-1809 0 5476,-1294-14-2738,7 0 0,155 31 0,259-4 0,-391-15 0,2347 2 0,-2406-14 0,3 0 0,190 17 0,471-6 0,-669-10 0,41 0 0,2061 14 0,-2075 12 0,-34-1 0,-104-7 0,98 22 0,-62-9 0,-89-16 0,-1 0 0,0 1 0,0 1 0,-1 0 0,1 1 0,-1 0 0,0 0 0,0 1 0,0 1 0,-1 0 0,0 0 0,0 1 0,9 10 0,-2-3 0,1 0 0,0 1 0,-2 1 0,27 32 0,-20-17 0,-10-15 0,-1 1 0,0 0 0,-1 1 0,13 30 0,2 7 0,-18-43 0,-2 0 0,0 1 0,8 25 0,13 91 0,-20-97 0,1-1 0,2 0 0,16 38 0,-15-44 0,-1 1 0,-1 0 0,-1 0 0,-2 1 0,4 30 0,-8 44 0,-2-66 0,1-1 0,1-1 0,10 45 0,5-16 0,4-1 0,2-2 0,35 67 0,-52-114 0,-1-2 0,-1 1 0,0 0 0,-1 0 0,-1-1 0,0 2 0,1 21 0,-6 81 0,0-45 0,4 36 0,14 116 0,-10-161 0,-3 64 0,2 33 0,-2-145 0,1 1 0,0-1 0,1 0 0,10 23 0,-8-24 0,-2 0 0,1 0 0,-2 1 0,0-1 0,3 22 0,-4 387 0,-5-205 0,3-178 0,-1-5 0,6 56 0,-3-80 0,-1 1 0,2 0 0,-1 0 0,1 0 0,1-1 0,0 0 0,0 0 0,1 0 0,10 16 0,-4-7 0,-1 1 0,0 0 0,-2 0 0,0 1 0,-2 0 0,0 0 0,4 25 0,-2-11 0,-2 1 0,-1 0 0,-2-1 0,-1 1 0,-4 48 0,0-49 0,2 1 0,1-1 0,2 0 0,11 57 0,-14-88 0,3 4 0,-1 0 0,-1 0 0,0 0 0,0 0 0,0 0 0,-1 13 0,0-18 0,0 0 0,-1-1 0,1 1 0,-1 0 0,0-1 0,1 1 0,-1 0 0,0-1 0,0 1 0,0-1 0,0 0 0,0 1 0,-1-1 0,1 0 0,0 1 0,-1-1 0,1 0 0,0 0 0,-1 0 0,1 0 0,-1 0 0,0-1 0,1 1 0,-1 0 0,0-1 0,1 1 0,-1-1 0,0 0 0,0 0 0,1 1 0,-1-1 0,0 0 0,-2-1 0,-12 0 0,0-1 0,0 0 0,0-2 0,0 1 0,1-2 0,0 0 0,-23-12 0,-12-3 0,24 13 0,-1 0 0,1 1 0,-1 2 0,-41-2 0,-114 8 0,67 2 0,48-1 0,-109 21 0,106-13 0,-105 5 0,-7-15-7564,-92-2 11932,106 0-804,56 1-3932,78-3 368,0 0 0,1-2 0,-1-2 0,-51-17 0,-40-8 0,111 30 0,-1 0 0,1 2 0,-1-1 0,0 2 0,1 0 0,-1 1 0,1 0 0,-1 1 0,1 1 0,-17 7 0,-10 0 0,-1-1 0,-75 5 0,34-5 0,-38 2 0,107-11 0,-1-1 0,0-1 0,0 0 0,1-1 0,-29-8 0,42 10 0,1 0 0,0 0 0,0 0 0,-1 1 0,1-1 0,0 0 0,0 0 0,0 0 0,-1 0 0,1 0 0,0-1 0,0 1 0,-1 0 0,1 0 0,0 0 0,0 0 0,0 0 0,-1 0 0,1 0 0,0 0 0,0 0 0,0 0 0,-1-1 0,1 1 0,0 0 0,0 0 0,0 0 0,0 0 0,0-1 0,-1 1 0,1 0 0,0 0 0,0 0 0,0-1 0,0 1 0,0 0 0,0 0 0,0 0 0,0-1 0,0 1 0,0 0 0,0 0 0,0-1 0,0 1 0,0 0 0,0 0 0,0 0 0,0-1 0,0 1 0,14-5 0,23 0 0,-13 2 0,-1-1 0,1-1 0,-1-1 0,0-1 0,-1-1 0,0-1 0,0-1 0,0-1 0,22-15 0,6-25-1365,-42 47-5461</inkml:trace>
</inkml:ink>
</file>

<file path=ppt/ink/ink3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52.034"/>
    </inkml:context>
    <inkml:brush xml:id="br0">
      <inkml:brushProperty name="width" value="0.035" units="cm"/>
      <inkml:brushProperty name="height" value="0.035" units="cm"/>
      <inkml:brushProperty name="color" value="#E71224"/>
    </inkml:brush>
  </inkml:definitions>
  <inkml:trace contextRef="#ctx0" brushRef="#br0">151 0 24575,'-2'2'0,"0"0"0,1-1 0,-1 1 0,0 0 0,0 0 0,1 0 0,0 0 0,-1 0 0,1 0 0,0 1 0,0-1 0,0 0 0,0 1 0,0-1 0,1 1 0,-2 3 0,0 2 0,-13 30 0,3-1 0,1 2 0,-7 39 0,15-60 0,-2 0 0,-14 34 0,-4 17 0,10-27-1365,7-24-5461</inkml:trace>
</inkml:ink>
</file>

<file path=ppt/ink/ink3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54.584"/>
    </inkml:context>
    <inkml:brush xml:id="br0">
      <inkml:brushProperty name="width" value="0.035" units="cm"/>
      <inkml:brushProperty name="height" value="0.035" units="cm"/>
      <inkml:brushProperty name="color" value="#E71224"/>
    </inkml:brush>
  </inkml:definitions>
  <inkml:trace contextRef="#ctx0" brushRef="#br0">156 49 24575,'0'-2'0,"-1"0"0,1 0 0,-1 0 0,0 0 0,1 0 0,-1 0 0,0 0 0,-1 0 0,1 0 0,0 0 0,0 0 0,-1 0 0,1 1 0,-1-1 0,0 1 0,1-1 0,-1 1 0,0 0 0,0-1 0,0 1 0,0 0 0,0 0 0,0 0 0,0 1 0,-3-2 0,2 1 0,0 0 0,0 0 0,0 0 0,0 0 0,0 1 0,-1-1 0,1 1 0,0 0 0,-1 0 0,1 0 0,0 0 0,0 1 0,-1-1 0,1 1 0,0 0 0,-4 1 0,2 2 0,0 1 0,0 0 0,0 0 0,1 0 0,0 0 0,0 1 0,0 0 0,1 0 0,0 0 0,0 0 0,0 0 0,1 0 0,0 1 0,0-1 0,1 1 0,0 0 0,0 0 0,0-1 0,1 1 0,0 0 0,1 9 0,0-14 0,0 0 0,0 0 0,0 0 0,0 0 0,1 0 0,-1 0 0,1 0 0,-1 0 0,1 0 0,-1-1 0,1 1 0,0-1 0,0 1 0,0-1 0,0 1 0,0-1 0,0 0 0,0 0 0,1 0 0,-1-1 0,0 1 0,0 0 0,5 0 0,65 5 0,-36-4 0,-30-1 0,1 0 0,0 1 0,-1 0 0,0 0 0,1 0 0,-1 1 0,0-1 0,0 2 0,-1-1 0,1 1 0,-1-1 0,1 2 0,6 6 0,-9-8 0,-1 0 0,0 0 0,0 0 0,0 0 0,0 1 0,0-1 0,-1 1 0,1-1 0,-1 1 0,0-1 0,0 1 0,0 0 0,-1-1 0,1 1 0,-1 0 0,0 0 0,0-1 0,0 1 0,-1 0 0,1 0 0,-1-1 0,0 1 0,0 0 0,0-1 0,-3 6 0,2-5 7,-1-1 0,0 1-1,0-1 1,0 0 0,0 0-1,-1 0 1,1 0-1,-1 0 1,0-1 0,1 1-1,-1-1 1,0 0 0,-1 0-1,1-1 1,0 1 0,0-1-1,-7 1 1,-9 3-502,0-1 0,-28 1 0,27-3-6331</inkml:trace>
</inkml:ink>
</file>

<file path=ppt/ink/ink3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55.788"/>
    </inkml:context>
    <inkml:brush xml:id="br0">
      <inkml:brushProperty name="width" value="0.035" units="cm"/>
      <inkml:brushProperty name="height" value="0.035" units="cm"/>
      <inkml:brushProperty name="color" value="#E71224"/>
    </inkml:brush>
  </inkml:definitions>
  <inkml:trace contextRef="#ctx0" brushRef="#br0">0 0 24575,'0'5'0,"0"6"0,0 5 0,0 5 0,0 7 0,5 9 0,5 2 0,2 3 0,-2 0 0,-2-4 0,-3-3 0,-1-3 0,2-3 0,0-2 0,-1 0 0,-1-1 0,-1-5-8191</inkml:trace>
</inkml:ink>
</file>

<file path=ppt/ink/ink3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6:58.058"/>
    </inkml:context>
    <inkml:brush xml:id="br0">
      <inkml:brushProperty name="width" value="0.035" units="cm"/>
      <inkml:brushProperty name="height" value="0.035" units="cm"/>
      <inkml:brushProperty name="color" value="#E71224"/>
    </inkml:brush>
  </inkml:definitions>
  <inkml:trace contextRef="#ctx0" brushRef="#br0">188 54 24575,'0'-2'0,"0"0"0,-1 0 0,0 0 0,1 0 0,-1 0 0,0 0 0,0 0 0,0 0 0,0 0 0,0 1 0,-1-1 0,1 0 0,0 1 0,-1-1 0,0 0 0,1 1 0,-1 0 0,0-1 0,1 1 0,-1 0 0,0 0 0,0 0 0,0 0 0,0 1 0,0-1 0,-4-1 0,-5-1 0,0 1 0,0-1 0,-19 0 0,27 3 0,-1 0 0,1 0 0,0 0 0,-1 0 0,1 1 0,0-1 0,0 1 0,-1 0 0,1 0 0,0 0 0,0 1 0,0-1 0,0 1 0,0-1 0,0 1 0,1 0 0,-1 0 0,1 0 0,-1 1 0,1-1 0,0 1 0,0-1 0,0 1 0,0 0 0,0 0 0,0-1 0,1 1 0,0 0 0,-1 1 0,1-1 0,0 0 0,0 0 0,1 0 0,-1 6 0,0-4 0,1-1 0,-1 0 0,1 1 0,0-1 0,1 1 0,-1-1 0,1 0 0,0 1 0,0-1 0,0 0 0,1 0 0,-1 1 0,1-1 0,0 0 0,0-1 0,1 1 0,-1 0 0,1-1 0,0 1 0,0-1 0,0 0 0,0 0 0,0 0 0,1 0 0,-1-1 0,7 4 0,10 2 0,0-2 0,1 0 0,0-1 0,0-1 0,0-1 0,39 0 0,-10 0 0,-47-3 0,-1 0 0,1 1 0,0-1 0,-1 0 0,1 1 0,-1-1 0,1 1 0,-1 0 0,1 0 0,-1 0 0,1 0 0,-1 1 0,0-1 0,1 0 0,-1 1 0,0 0 0,0-1 0,0 1 0,-1 0 0,1 0 0,0 0 0,-1 0 0,1 1 0,-1-1 0,1 0 0,-1 1 0,0-1 0,1 4 0,-2-3 0,0 1 0,1-1 0,-1 0 0,-1 1 0,1-1 0,0 1 0,-1-1 0,0 0 0,0 1 0,0-1 0,0 0 0,0 0 0,-1 0 0,0 1 0,1-2 0,-1 1 0,0 0 0,0 0 0,-1-1 0,1 1 0,-4 3 0,-1 0 9,-1 1-1,1-1 1,-1-1-1,-1 1 1,1-1 0,-1-1-1,1 1 1,-2-2-1,1 1 1,0-1-1,0 0 1,-1-1-1,-19 2 1,13-4-195,0 0 1,0-1-1,0 0 0,0-2 1,0 0-1,0 0 1,-25-11-1,14 4-6640</inkml:trace>
</inkml:ink>
</file>

<file path=ppt/ink/ink3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7:29.777"/>
    </inkml:context>
    <inkml:brush xml:id="br0">
      <inkml:brushProperty name="width" value="0.035" units="cm"/>
      <inkml:brushProperty name="height" value="0.035" units="cm"/>
      <inkml:brushProperty name="color" value="#E71224"/>
    </inkml:brush>
  </inkml:definitions>
  <inkml:trace contextRef="#ctx0" brushRef="#br0">2067 1695 24575,'-1'-12'0,"0"0"0,-2 0 0,1 0 0,-1 0 0,-1 0 0,-7-15 0,5 13 0,1 0 0,1 0 0,0 0 0,-3-23 0,2-40 0,-9-73 0,5 51 0,6-196 0,5 143 0,-1 114 0,-1-1 0,-5-45 0,3 69 0,0 1 0,-1 0 0,-1 0 0,-1 1 0,1-1 0,-13-21 0,12 26 0,-1 0 0,1 0 0,-2 0 0,1 1 0,-1 1 0,-1-1 0,1 1 0,-1 0 0,0 0 0,-1 1 0,0 0 0,0 1 0,0 0 0,0 1 0,-1-1 0,-11-2 0,-44-23 0,-96-58 0,109 56 0,-2 3 0,-111-45 0,144 68 0,-22-10 0,-2 2 0,1 1 0,-2 3 0,0 2 0,-63-3 0,49 10 0,-144 4 0,181 1 0,0 1 0,0 1 0,0 1 0,1 1 0,-1 1 0,2 1 0,-27 17 0,39-22 0,1 1 0,0 0 0,0 1 0,1 0 0,0 0 0,0 1 0,0 0 0,1 0 0,0 0 0,1 1 0,-7 13 0,-2 9 0,2 1 0,-9 34 0,14-44 0,-5 20 0,7-20 0,-2-1 0,-9 21 0,10-27 0,1 0 0,1-1 0,0 1 0,1 1 0,0-1 0,0 22 0,-3 17 0,-1-16 0,-3-1 0,-19 49 0,-1 7 0,-55 294 0,73-314 0,-22 162 0,5 419 0,30-598 0,-16 453 0,1 112 0,17-386 0,0-152 0,3-1 0,17 86 0,57 305 0,-50-186 0,-22-169 0,1 40 0,7 73 0,-5-110 0,-8-73 0,2-1 0,13 55 0,5-23 0,4-1 0,2-1 0,5-2 0,2-1 0,4-2 0,96 132 0,-43-99 0,-12-16 0,-19-16 0,74 65 0,-103-112 0,1-1 0,1-2 0,2-1 0,65 29 0,-94-47 0,0 0 0,-1 0 0,1-1 0,0 0 0,0 0 0,0-1 0,12 2 0,-17-4 0,0 0 0,0 0 0,-1 0 0,1-1 0,0 1 0,0-1 0,0 0 0,-1 1 0,1-1 0,0-1 0,-1 1 0,1 0 0,-1-1 0,1 1 0,-1-1 0,0 1 0,1-1 0,-1 0 0,0 0 0,0 0 0,-1-1 0,3-2 0,37-53 0,61-117 0,-49 77 0,12-5 0,3 4 0,133-148 0,-171 212 0,-1-1 0,-2-1 0,-2-2 0,35-70 0,-48 87 0,0 0 0,19-24 0,-18 28 0,-1 0 0,-1-1 0,13-29 0,17-68 0,-6-2 0,-5-1 0,-5-2 0,-5 0 0,-5-1 0,-3-203 0,-15-346 0,0 604 0,-4-1 0,-24-105 0,-6-46 0,8 47 0,2 12 0,1 17 0,6 38 0,-36-138 0,37 139 0,5 38 0,4-1 0,-3-103 0,13 153 0,0 1 0,1-1 0,1 1 0,1 0 0,0-1 0,1 1 0,1 1 0,0-1 0,8-15 0,-6 13 0,-1 0 0,-1-1 0,0 0 0,2-23 0,4-17 0,1 6-682,5-61-1,-15 84-6143</inkml:trace>
</inkml:ink>
</file>

<file path=ppt/ink/ink3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8:06.623"/>
    </inkml:context>
    <inkml:brush xml:id="br0">
      <inkml:brushProperty name="width" value="0.035" units="cm"/>
      <inkml:brushProperty name="height" value="0.035" units="cm"/>
      <inkml:brushProperty name="color" value="#E71224"/>
    </inkml:brush>
  </inkml:definitions>
  <inkml:trace contextRef="#ctx0" brushRef="#br0">2388 928 24575,'0'-21'0,"1"0"0,0 0 0,-2 0 0,-1 0 0,-1 0 0,0 0 0,-2 0 0,-9-28 0,-1 12 0,-1 0 0,-2 1 0,-32-47 0,28 52 0,-2 1 0,0 0 0,-2 2 0,-2 1 0,0 2 0,-1 0 0,-2 2 0,-51-30 0,-72-12 0,118 51 0,-182-52 0,165 50 0,-1 2 0,-1 2 0,-90-7 0,-6-1 0,56 8 0,0 5 0,-121 7 0,140 1 0,67-1 0,1 0 0,-1 1 0,0 0 0,1 1 0,-1 0 0,1 0 0,0 1 0,0 0 0,0 0 0,0 1 0,0 0 0,1 0 0,-1 1 0,-10 9 0,7-3 0,1-1 0,1 1 0,-1 1 0,2 0 0,0 0 0,0 1 0,-10 24 0,-5 10 0,3 1 0,2 1 0,1 1 0,-10 56 0,-5 59 0,15-87 0,3 1 0,-6 128 0,20-97 0,-15 287 0,6-251 0,8-90 0,-16 95 0,-44 224 0,26-149 0,20-92 0,6 1 0,10 170 0,2-104 0,-2-163 0,-2-1 0,-2 0 0,-1 1 0,-2-1 0,-17 58 0,15-60 0,2 0 0,1 1 0,2-1 0,1 1 0,6 70 0,-1-16 0,26 230 0,-3-91 0,-18-161 0,2-1 0,3-1 0,4 0 0,2-1 0,33 74 0,-26-84 0,4-1 0,1-2 0,3-1 0,2-1 0,3-2 0,70 68 0,-86-93 0,1-2 0,1-1 0,1-1 0,1 0 0,1-3 0,0 0 0,1-2 0,1-1 0,59 18 0,-61-27 0,0-1 0,0-1 0,0-2 0,0-1 0,0-1 0,48-10 0,66-3 0,-43 16 0,-55 1 0,-1-2 0,66-8 0,-91 4 0,0-1 0,-1-1 0,1 0 0,-1-1 0,-1-1 0,0-1 0,0 0 0,18-14 0,113-101 0,-125 104 0,28-30 0,-1-1 0,-3-2 0,-3-3 0,-1-1 0,49-93 0,-82 132 0,-1 0 0,-1 0 0,-1-1 0,0 0 0,4-35 0,3-100 0,-10 87 0,12-1053 0,-18 691 0,2 242 0,3-203 0,3 326 0,16-73 0,5-59 0,-25 36 0,0-24 0,1 154 0,2 1 0,1-1 0,1 1 0,11-31 0,1 5 0,-2-1 0,16-107 0,-28 124-68,-3 17-364,2 0-1,9-39 1,-1 27-6394</inkml:trace>
</inkml:ink>
</file>

<file path=ppt/ink/ink3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8:11.434"/>
    </inkml:context>
    <inkml:brush xml:id="br0">
      <inkml:brushProperty name="width" value="0.035" units="cm"/>
      <inkml:brushProperty name="height" value="0.035" units="cm"/>
      <inkml:brushProperty name="color" value="#E71224"/>
    </inkml:brush>
  </inkml:definitions>
  <inkml:trace contextRef="#ctx0" brushRef="#br0">2408 322 24575,'-15'-14'0,"-1"-1"0,-1 2 0,0 0 0,0 1 0,-2 1 0,1 1 0,-37-15 0,-6 4 0,-79-17 0,39 12 0,-365-84 0,415 103 0,0 3 0,0 2 0,0 2 0,0 2 0,-91 17 0,-240 79 0,346-84 0,1 2 0,0 2 0,2 1 0,0 1 0,1 2 0,-38 33 0,1-2 0,43-34 0,-227 177 0,248-192 0,1 0 0,0 1 0,0-1 0,0 1 0,1 0 0,-1 0 0,1 0 0,1 1 0,-1-1 0,1 1 0,0-1 0,0 1 0,0 0 0,0 8 0,0 6 0,1-1 0,0 1 0,4 22 0,-2 34 0,-8 9 0,-4 101 0,11-165 0,2-1 0,0 1 0,1 0 0,2-1 0,0 0 0,14 37 0,31 49 0,-28-61 0,-1 1 0,-2 0 0,17 69 0,-25-76 0,17 43 0,-4-16 0,-6-9 0,-3 1 0,-2 0 0,-3 1 0,5 104 0,-9-92 0,26 131 0,4 27 0,-10 146 0,-22-267 0,-20 202 0,12-262 0,2 29 0,4 1 0,16 111 0,-11-129 0,15 82 0,62 211 0,-76-316 0,-2 1 0,-2 0 0,-1 1 0,-4 60 0,4 51 0,28 44 0,-9-70 0,-16-97 0,1-1 0,1 1 0,1-1 0,17 31 0,-12-25 0,18 59 0,-19-55 0,2 0 0,1-1 0,2-1 0,1-1 0,1-1 0,27 31 0,-42-56 0,0-1 0,0 1 0,1-1 0,0-1 0,0 1 0,1-1 0,-1 0 0,1-1 0,0 1 0,1-1 0,-1-1 0,1 1 0,-1-1 0,1-1 0,0 0 0,12 3 0,-2-3 0,0-1 0,1-1 0,-1 0 0,0-2 0,0 0 0,27-7 0,20 0 0,-1 2 0,1 3 0,69 5 0,-72 0 0,-1-1 0,1-4 0,95-17 0,-121 13 0,-1-1 0,1-2 0,-2-2 0,0-1 0,-1-2 0,0-1 0,-1-1 0,-1-2 0,-1-1 0,44-40 0,17-23 0,100-102 0,-167 158 0,-1-1 0,-1 0 0,-2-2 0,-1 0 0,20-45 0,-26 43 0,-2-1 0,-1 0 0,-1-1 0,-2 1 0,4-71 0,-14-180 0,-3 111 0,5 42 0,29-231 0,-17 275 0,-3-1 0,-5 0 0,-3-1 0,-4 1 0,-17-94 0,-11 14 0,-87-273 0,96 372 0,-46-171 0,63 213 0,2-1 0,1 1 0,1-1 0,2 1 0,0-1 0,8-47 0,0 33 0,27-195 0,-34 209 0,0 0 0,-2 0 0,-1 0 0,-1 0 0,-1 1 0,-11-37 0,-57-119 0,49 135 0,3 0 0,-27-103 0,27 47 0,4-1 0,-4-184 0,21-1-1365,-1 280-5461</inkml:trace>
</inkml:ink>
</file>

<file path=ppt/ink/ink3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7:58:25.856"/>
    </inkml:context>
    <inkml:brush xml:id="br0">
      <inkml:brushProperty name="width" value="0.035" units="cm"/>
      <inkml:brushProperty name="height" value="0.035" units="cm"/>
      <inkml:brushProperty name="color" value="#E71224"/>
    </inkml:brush>
  </inkml:definitions>
  <inkml:trace contextRef="#ctx0" brushRef="#br0">3257 3153 24575,'1'-101'0,"0"-43"0,-18-143 0,5 141 0,11-190 0,3 151 0,0 13 0,-4-191 0,-3 321 0,-2 1 0,-1-1 0,-3 1 0,-28-73 0,20 60 0,-42-97 0,44 113 0,6 12 0,-34-79 0,-78-133 0,102 209 0,-2 0 0,-1 1 0,-1 1 0,-1 1 0,-1 2 0,-34-24 0,28 27 0,-2 2 0,0 1 0,-69-24 0,0-1 0,47 19 0,-2 2 0,-109-25 0,-126-6 0,223 42 0,-23 1 0,-1 5 0,-118 7 0,62 1 0,17-5 0,-142 4 0,136 16 0,86-10 0,28-4 0,0 1 0,0 1 0,0 2 0,-32 14 0,46-18 0,1 2 0,1-1 0,-1 1 0,1 1 0,0 0 0,1 1 0,0-1 0,0 2 0,0-1 0,1 1 0,-12 17 0,0 10 0,2 0 0,1 2 0,-13 43 0,-28 123 0,33-107 0,18-73 0,-4 12 0,2 0 0,1 1 0,2 0 0,-1 42 0,-9 190 0,6-127 0,-1 5 0,-5 149 0,15 51 0,4 229 0,8-450 0,5-2 0,6 0 0,46 149 0,-57-229 0,-7-24 0,1 0 0,1-1 0,1 0 0,0 0 0,2-1 0,0 0 0,13 20 0,1-8 0,1-2 0,1-1 0,2-1 0,0-1 0,2-1 0,0-2 0,56 32 0,-32-25 0,2-2 0,0-3 0,1-2 0,62 14 0,-70-27 0,0-2 0,0-2 0,1-2 0,88-7 0,-46 1 0,-1 2 0,198-11 0,-249 8 0,0-3 0,0-1 0,-1-1 0,-1-3 0,47-19 0,44-36 0,30-13 0,-138 72 0,-1 1 0,1 1 0,1 0 0,-1 2 0,1 0 0,26-1 0,-28 3 0,-1-1 0,1 0 0,-1-2 0,0 0 0,0-1 0,0-1 0,-1 0 0,0-2 0,0 0 0,29-21 0,-29 13 0,0-1 0,0-1 0,-2-1 0,0 0 0,-2-1 0,21-42 0,-30 56 0,4-3 0,0 1 0,1 0 0,0 0 0,0 1 0,1 0 0,0 1 0,0 0 0,22-11 0,1-2 0,11-7 7,1 2-1,2 3 1,75-27 0,151-31-111,-88 29-1184,-141 37-5538</inkml:trace>
</inkml:ink>
</file>

<file path=ppt/ink/ink3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8:55:16.388"/>
    </inkml:context>
    <inkml:brush xml:id="br0">
      <inkml:brushProperty name="width" value="0.5" units="cm"/>
      <inkml:brushProperty name="height" value="1" units="cm"/>
      <inkml:brushProperty name="color" value="#FFFC00"/>
      <inkml:brushProperty name="tip" value="rectangle"/>
      <inkml:brushProperty name="rasterOp" value="maskPen"/>
      <inkml:brushProperty name="ignorePressure" value="1"/>
    </inkml:brush>
  </inkml:definitions>
  <inkml:trace contextRef="#ctx0" brushRef="#br0">0 34,'25'1,"0"2,-1 1,0 1,1 1,-2 1,1 1,38 19,-44-21,-1-1,2-1,-1 0,0-1,1-2,-1 1,1-2,0-1,23-3,-16 2,0 0,0 2,47 6,-24 4,1-3,63 1,-88-8,0-1,0-1,0-1,0-2,-1 0,34-13,-31 10,0 1,47-6,-8 2,-35 6,0 2,53 2,-65 2,0-1,0 0,0-1,0-1,0-1,0-1,0 0,-1-1,33-15,-50 20,0 0,0-1,-1 1,1 0,0-1,0 1,0-1,-1 1,1-1,0 1,-1-1,1 1,0-1,-1 0,1 1,-1-1,1 0,-1 0,1 1,-1-1,1 0,-1 0,0 0,0 0,1 1,-1-1,0 0,0 0,0 0,0-1,-1 2,1 0,-1-1,0 1,1 0,-1 0,0 0,0 0,1 0,-1 0,0 0,0 0,1 1,-1-1,0 0,0 0,1 1,-1-1,0 0,1 1,-1-1,1 1,-1-1,0 0,1 1,-1 0,1-1,-1 1,1-1,-1 1,1-1,0 1,-1 0,1-1,0 1,-1 1,-31 42,16-20,-1-1,-21 21,34-39,0 0,0 1,1-1,0 1,0 0,0 0,0 0,1 1,0-1,0 0,1 1,0-1,-1 11,1 14,4 52,-1-34,-2 69,2 71,1-170,1 0,1 0,0-1,1 1,12 22,8 24,-16-36,-6-19,0 0,-1 1,0-1,-1 1,2 20,-4-28,0 1,-1-1,1 1,-1-1,0 0,0 1,0-1,0 0,-1 0,1 1,-1-1,0 0,0-1,0 1,0 0,0 0,-1-1,1 0,-1 1,0-1,0 0,-5 3,-6 4,6-5,0 1,1 0,0 0,0 1,0 0,-10 12,13-13,0-1,0 0,0-1,-1 1,1-1,-1 0,0 0,0 0,0 0,0-1,0 0,0 0,-1 0,1-1,-1 0,1 0,-1 0,-8-1,-9 0,-1-2,1-1,-30-7,-26-2,-356 8,225 7,134-2,14 0,-71-7,115 4,-1 0,1-2,0 0,1-2,-1 1,1-2,0-1,-22-12,39 19,-1 0,0 0,1 0,-1 0,0 0,1 0,-1 0,1 0,0 0,-1 0,1 0,0 0,0 0,-1 0,1 0,0-1,0 1,0 0,1 0,-1 0,0 0,0 0,0 0,1-1,-1 1,1 0,-1 0,1 0,-1 0,1 0,0 0,0-1,28-41,-20 31,-2 0,0 0,-1 0,0-1,-1 0,0 0,5-28,5-83,-13 110,-2 10,0 1,1-1,0 1,-1 0,1-1,1 1,-1 0,0 0,1 0,0 0,-1 0,1 0,0 1,1-1,-1 0,0 1,1 0,-1-1,1 1,0 0,0 0,0 1,0-1,0 1,0-1,0 1,1 0,-1 0,0 0,6 0,11-1,0 0,0 2,0 0,25 4,-5-1,-11-1,44 10,-50-7,-1-1,0-1,40 0,-59-4,1 1,-1 0,0-1,0 0,0 0,1 0,-1 0,0 0,0-1,0 1,-1-1,1 0,0 0,-1 0,1 0,-1 0,1 0,2-5,-2 2,1-1,-1 0,0 0,0 0,-1 0,0 0,0 0,2-13,-2 4,0 0,-2 0,1 0,-2 0,0 0,-1 0,-5-22,5 31,0 1,-1 0,1-1,-1 1,0 0,0 1,-1-1,1 1,-1-1,0 1,0 0,-1 1,1-1,-1 1,1-1,-7-1,-7-4,0 0,-1 2,-22-6,31 10,-16-5</inkml:trace>
</inkml:ink>
</file>

<file path=ppt/ink/ink3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8:55:55.047"/>
    </inkml:context>
    <inkml:brush xml:id="br0">
      <inkml:brushProperty name="width" value="0.5" units="cm"/>
      <inkml:brushProperty name="height" value="1" units="cm"/>
      <inkml:brushProperty name="color" value="#FFFC00"/>
      <inkml:brushProperty name="tip" value="rectangle"/>
      <inkml:brushProperty name="rasterOp" value="maskPen"/>
      <inkml:brushProperty name="ignorePressure" value="1"/>
    </inkml:brush>
  </inkml:definitions>
  <inkml:trace contextRef="#ctx0" brushRef="#br0">289 164,'66'0,"-1"3,0 3,0 3,-1 3,120 38,-141-35,69 14,-95-26,1-1,0 0,0-2,-1 0,1 0,0-2,19-4,-2 0,55-2,-67 8,0-2,0 0,0-2,0-1,0 0,29-12,-19 0,39-27,-55 32,0 1,0 1,1 0,0 1,1 1,-1 1,2 0,37-7,-55 14,0-1,0 1,-1-1,1 1,0 0,0 0,0 0,-1 0,1 0,0 1,0-1,-1 0,1 1,0-1,0 1,-1 0,1-1,-1 1,1 0,-1 0,1 0,-1 0,1 0,-1 1,0-1,1 0,-1 1,0-1,0 1,0-1,0 1,-1-1,1 1,0 0,-1-1,1 1,-1 0,1-1,-1 1,0 0,0 0,1 0,-1-1,-1 4,-1 9,0 0,-1 1,0-1,-11 24,1 2,3 6,2-16,2-1,1 2,-1 46,7 400,-1-470,0-1,0 1,-1-1,0 1,0-1,0 1,-1-1,0 0,0 0,-1 1,0-2,0 1,0 0,-1-1,0 1,0-1,0 0,-1 0,-5 5,3-5,-1-1,0 1,0-1,0 0,0-1,0 0,-1 0,0-1,1 0,-1 0,0-1,0 0,-15-1,-1405-5,1420 4,-1 1,1-1,-1-1,1 1,0-2,-15-4,22 6,1 0,-1 1,1-1,-1 0,1 0,0 0,-1 0,1 0,0 0,0 0,0 0,0 0,0-1,0 1,0 0,0-1,0 1,0-4,1 3,0 1,0-1,0 0,0 0,1 0,-1 0,0 1,1-1,0 0,-1 0,1 1,0-1,0 0,0 1,0-1,0 1,1-1,-1 1,0 0,3-3,22-20,-21 20,0 0,0 0,0 0,-1 0,0-1,0 0,0 0,-1 0,1 0,-1-1,0 1,-1-1,1 0,-1 0,0 0,-1 0,0 0,0 0,1-8,-2-8,-1 1,-1-1,-1 0,-1 1,-1-1,0 1,-9-20,5 15,5 10,0-1,1 1,1-1,0 1,2-1,0-19,18-99,-7 67,-5 24,14-45,-19 85,1 1,0-1,-1 1,1 0,1 0,-1-1,0 1,1 1,0-1,-1 0,1 1,0-1,0 1,1 0,-1 0,0 0,1 1,-1-1,1 1,-1 0,1-1,0 2,0-1,-1 0,7 1,13-2,1 1,-1 1,27 4,-12-2,120-1,-89-3,-1 3,1 3,102 19,-21 6,24 5,-148-28,1-1,-1-2,1-1,0-1,0-1,0-1,33-6,16-8,86-28,-110 28,-27 7,0 2,1 1,0 1,0 1,0 1,0 1,0 1,44 7,-68-7,-1 0,0 0,0 0,0 0,0 0,0 1,0-1,0 0,1 0,-1 1,0-1,0 1,0-1,0 1,0 0,-1-1,1 1,0 0,0-1,0 1,-1 0,1 0,0 0,-1 0,1 0,0 0,-1 0,1 0,-1 0,0 0,1 0,-1 0,0 0,0 0,0 0,1 0,-1 1,0-1,0 0,-1 1,-1 4,-1 0,1 0,-1-1,-1 0,1 0,-7 8,-10 18,-23 98,31-94,2 1,-7 39,-3 15,18-84,-3 14,-1 0,0-1,-2 0,-15 29,6-15,3 0,0 1,3 1,-13 57,12-44,-29 76,31-99,-1-1,-2-1,0 0,-32 40,40-56,-1-1,0 0,0 0,0 0,0-1,-1 0,0 0,0-1,-1 0,1 0,-1-1,1 0,-1 0,0 0,-1-1,1-1,0 1,0-1,-15 0,11-4,0 0,-1 0,1-1,0-1,1 0,-1-1,1 0,0 0,-14-12,-38-20,-64-17,-93-48,76 29,74 40,-120-78,185 107,0 1,0-1,0 0,1-1,-1 1,1-1,1 0,-1 0,1 0,0 0,-3-11,-15-24,21 40,-1 0,0 0,1 0,-1 0,0 0,0 1,1-1,-1 0,0 0,0 1,0-1,0 1,0-1,0 1,0-1,0 1,0-1,0 1,0 0,0 0,0 0,0 0,-1-1,1 1,0 1,0-1,0 0,0 0,0 0,0 1,0-1,0 0,0 1,-1 0,-39 25,19-10,-9 0,10-5,1 0,0 1,1 1,0 1,-18 18,35-31,1 1,-1-1,0 1,1 0,0-1,-1 1,1 0,0 0,0 0,-1 0,2 0,-1 0,0 0,0 0,1 0,-1 0,1 0,-1 1,1-1,0 0,0 0,0 0,0 1,1-1,-1 0,0 0,1 0,0 1,-1-1,1 0,0 0,0 0,3 3,0-1,0 0,0 0,1-1,-1 1,1-1,0-1,0 1,0 0,0-1,0 0,12 2,37 7,2-2,-1-3,1-2,69-5,-104 1,-12 0,347-16,-156 8,-42 4,24-21,-39 26,-127 0,-1 1,0 0,0 1,0 1,-1 1,1 0,17 9,-29-12,0 0,0 0,0 0,0 1,-1-1,1 1,-1-1,0 1,0 0,0 0,0 0,0 0,-1 0,1 1,-1-1,0 0,0 1,0-1,0 1,-1-1,0 1,1-1,-1 1,0-1,-1 6,1-6,-1 0,0 0,1 0,-1 0,0 0,0 0,0 0,-1 0,1 0,-1 0,0-1,0 1,0-1,0 1,0-1,0 0,0 1,-1-1,1-1,-1 1,0 0,1-1,-1 1,0-1,0 0,0 0,0 0,-5 1,-53 8,-1-2,0-3,0-3,0-2,-66-9,39-7,42 6,0 2,0 3,-73 0,37 18,-8 1,-75-14,100-3,0 4,-92 12,147-11,0 1,-1 0,1 1,0 0,1 0,-1 1,1 1,0 0,-19 14,15-13,-1-1,1 0,-1-1,-1-1,1 0,-1-2,-23 3,36-5,747-1,-716 3,0 2,0 2,0 0,0 2,29 12,-38-14,-11-3,-2 0,0-1,0 0,0-1,0 1,1-1,-1 0,9 0,-13-2,0 1,1-1,-1 1,0-1,0 0,0 0,0 0,-1 0,1 0,0-1,0 1,-1 0,1-1,0 1,-1-1,0 0,1 1,-1-1,0 0,0 0,0 0,0 0,0 0,0 0,0-3,50-168,-19 53,27-53,-58 165,1 0,-2-1,1 1,-1 0,0-1,0 1,-1-1,0 1,-1 0,-4-12,-33-84,24 70,-149-402,153 398,-7-41,2 7,10 48</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0:15.575"/>
    </inkml:context>
    <inkml:brush xml:id="br0">
      <inkml:brushProperty name="width" value="0.035" units="cm"/>
      <inkml:brushProperty name="height" value="0.035" units="cm"/>
    </inkml:brush>
  </inkml:definitions>
  <inkml:trace contextRef="#ctx0" brushRef="#br0">0 1 24575,'14'0'1,"0"1"-1,-1 1 0,1 1 1,-1 0-1,1 0 1,-1 1-1,0 1 0,-1 0 1,20 11-1,7 8 10,56 44 0,16 10-1399,-89-65-5437</inkml:trace>
</inkml:ink>
</file>

<file path=ppt/ink/ink3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09-22T18:55:59.958"/>
    </inkml:context>
    <inkml:brush xml:id="br0">
      <inkml:brushProperty name="width" value="0.5" units="cm"/>
      <inkml:brushProperty name="height" value="1" units="cm"/>
      <inkml:brushProperty name="color" value="#FFFC00"/>
      <inkml:brushProperty name="tip" value="rectangle"/>
      <inkml:brushProperty name="rasterOp" value="maskPen"/>
      <inkml:brushProperty name="ignorePressure" value="1"/>
    </inkml:brush>
  </inkml:definitions>
  <inkml:trace contextRef="#ctx0" brushRef="#br0">972 75,'-95'1,"37"1,-1-2,0-3,0-2,-69-15,62 4,0 3,-106-7,157 21,1 1,-1 1,1 0,0 1,0 1,0 0,1 1,0 0,0 1,0 1,-20 15,32-22,-1 0,0 0,1 0,-1 0,1 0,0 0,-1 0,1 0,0 0,0 1,0-1,0 1,0-1,0 1,0-1,0 1,0-1,1 1,-1 0,1-1,-1 1,1 0,-1 3,2-4,0 0,0 1,0-1,0 0,1 0,-1 0,0 0,0 0,1 0,-1 0,0 0,1-1,-1 1,1 0,-1-1,1 1,-1-1,1 0,-1 0,3 1,13 1,1 0,-1-2,26-1,77-10,173-8,-239 17,98-19,-99 12,71-4,-103 13,0 1,0 0,-1 1,1 2,-1 0,40 14,-28-8,0-1,0-1,1-2,48 3,135-5,-142-5,-22 2,-29 0,-1 0,1-2,0-1,30-5,-48 5,-1 0,1 0,-1-1,0 1,1-1,-1 0,0 0,-1-1,1 1,5-7,-8 9,0 0,0 0,0 0,0 0,0 0,0 0,-1-1,1 1,0 0,0 0,-1-1,1 1,-1 0,1-1,-1 1,0-1,0 1,1 0,-1-1,0 1,0-1,0 1,-1-1,1 1,0 0,0-1,-1 1,1-1,-1 1,1 0,-1 0,0-1,0 1,1 0,-1 0,0 0,0-1,-2 0,-12-7</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1:17.623"/>
    </inkml:context>
    <inkml:brush xml:id="br0">
      <inkml:brushProperty name="width" value="0.035" units="cm"/>
      <inkml:brushProperty name="height" value="0.035" units="cm"/>
      <inkml:brushProperty name="color" value="#E71224"/>
    </inkml:brush>
  </inkml:definitions>
  <inkml:trace contextRef="#ctx0" brushRef="#br0">133 1 24575,'-34'15'0,"22"-10"0,0 0 0,1 1 0,-16 11 0,24-15 0,0 0 0,0 1 0,0-1 0,1 1 0,-1 0 0,1 0 0,0 0 0,0 0 0,0 0 0,0 0 0,0 1 0,1-1 0,-1 1 0,1-1 0,0 1 0,-1 4 0,2-7 0,0 0 0,0 0 0,0 0 0,-1 1 0,1-1 0,0 0 0,0 0 0,1 0 0,-1 0 0,0 0 0,0 0 0,0 0 0,1 0 0,-1 0 0,0 0 0,1 0 0,-1 0 0,1 0 0,-1 0 0,1 0 0,0 0 0,-1-1 0,1 1 0,0 0 0,0 0 0,0 0 0,1 0 0,0 0 0,1 0 0,-1 0 0,0-1 0,0 1 0,0-1 0,0 1 0,1-1 0,-1 0 0,0 0 0,0 0 0,3 0 0,9-2 0,-1 0 0,0-1 0,17-6 0,-23 7 0,5-2-118,45-15 370,-55 18-310,-1 1 1,1-1-1,0 0 0,0 1 1,-1-1-1,1 0 0,-1 0 1,1 0-1,-1 0 0,1-1 1,-1 1-1,0 0 0,1-1 1,-1 1-1,0 0 0,0-1 1,0 0-1,0 1 1,0-1-1,-1 0 0,1 1 1,0-1-1,-1 0 0,1 0 1,-1-2-1,-3-9-6768</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11.158"/>
    </inkml:context>
    <inkml:brush xml:id="br0">
      <inkml:brushProperty name="width" value="0.035" units="cm"/>
      <inkml:brushProperty name="height" value="0.035" units="cm"/>
      <inkml:brushProperty name="color" value="#E71224"/>
    </inkml:brush>
  </inkml:definitions>
  <inkml:trace contextRef="#ctx0" brushRef="#br0">204 459 24575,'-1'-23'0,"-2"1"0,0-1 0,-12-41 0,9 42 0,0-1 0,2 1 0,-3-46 0,7 53 0,1 1 0,-1 0 0,-1 1 0,0-1 0,-5-20 0,4 29 0,0 0 0,0 0 0,0 0 0,-1 1 0,1-1 0,-1 1 0,0-1 0,0 1 0,-1 0 0,1 0 0,-1 0 0,0 1 0,0 0 0,-1-1 0,-4-2 0,6 4 0,0 0 0,0 0 0,0 0 0,0 1 0,0-1 0,0 1 0,0 0 0,-1 0 0,1 0 0,0 0 0,-1 1 0,1-1 0,0 1 0,-1 0 0,1 0 0,-1 0 0,-5 1 0,7 0 0,0 0 0,0 1 0,0-1 0,0 0 0,0 1 0,1-1 0,-1 1 0,0-1 0,1 1 0,-1 0 0,1 0 0,-1 0 0,1 0 0,0 0 0,0 0 0,0 0 0,0 0 0,0 0 0,1 0 0,-1 1 0,1-1 0,-1 0 0,1 1 0,0-1 0,0 0 0,0 4 0,-1 0 8,1 1 0,0-1 0,0 0 0,0 1 0,1-1 0,0 0 0,0 0 0,0 0 0,1 1 0,0-1 0,1-1 0,-1 1 0,1 0 0,5 8 0,-4-10-86,-1 0 0,1-1 0,0 0-1,0 1 1,0-1 0,0-1 0,0 1 0,1-1 0,-1 0-1,1 0 1,0 0 0,0 0 0,-1-1 0,1 0 0,0 0-1,0 0 1,0 0 0,9-1 0,10 0-6748</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1:19.401"/>
    </inkml:context>
    <inkml:brush xml:id="br0">
      <inkml:brushProperty name="width" value="0.035" units="cm"/>
      <inkml:brushProperty name="height" value="0.035" units="cm"/>
      <inkml:brushProperty name="color" value="#E71224"/>
    </inkml:brush>
  </inkml:definitions>
  <inkml:trace contextRef="#ctx0" brushRef="#br0">303 1 24575,'0'18'0,"-2"-1"0,0 1 0,-1 0 0,-1 0 0,0-1 0,-14 32 0,0-9 0,-38 62 0,25-54 0,17-28 0,1 0 0,1 1 0,1 0 0,0 1 0,2 0 0,1 1 0,-10 39 0,13-39 0,0 0 0,-16 38 0,7-24 0,-3 27-1365,10-48-5461</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1:21.808"/>
    </inkml:context>
    <inkml:brush xml:id="br0">
      <inkml:brushProperty name="width" value="0.035" units="cm"/>
      <inkml:brushProperty name="height" value="0.035" units="cm"/>
      <inkml:brushProperty name="color" value="#E71224"/>
    </inkml:brush>
  </inkml:definitions>
  <inkml:trace contextRef="#ctx0" brushRef="#br0">4 1 24575,'-1'41'0,"-1"-22"0,2 1 0,0-1 0,4 31 0,-3-47 0,0 1 0,-1 0 0,1-1 0,1 1 0,-1 0 0,0-1 0,1 1 0,0-1 0,0 0 0,0 1 0,0-1 0,0 0 0,1 0 0,-1-1 0,1 1 0,0 0 0,0-1 0,0 0 0,0 1 0,0-1 0,0 0 0,1-1 0,4 3 0,-6-3 0,0-1 0,0 1 0,0 0 0,0-1 0,0 0 0,0 1 0,0-1 0,0 0 0,0 0 0,0 0 0,0-1 0,0 1 0,0 0 0,0-1 0,0 1 0,0-1 0,0 0 0,0 1 0,0-1 0,0 0 0,-1 0 0,1 0 0,0-1 0,1-1 0,0 0 0,0 0 0,-1 0 0,1-1 0,-1 1 0,0-1 0,0 0 0,0 0 0,-1 1 0,1-1 0,-1 0 0,1-7 0,0 4 0,-1 0 0,0 0 0,0-1 0,-1 1 0,0-1 0,0 1 0,0 0 0,-1-1 0,-1 1 0,1 0 0,-1 0 0,0 0 0,-6-11 0,8 17-42,-1 0-1,1 0 0,-1 0 1,1 0-1,-1 1 0,0-1 1,1 0-1,-1 1 0,0-1 1,0 0-1,0 1 0,0-1 1,1 1-1,-1-1 0,0 1 1,0 0-1,0-1 0,0 1 1,0 0-1,0 0 0,0-1 1,0 1-1,0 0 0,0 0 1,0 0-1,0 0 0,0 0 1,0 1-1,0-1 0,0 0 1,-1 1-1,-13 5-6783</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1:34.758"/>
    </inkml:context>
    <inkml:brush xml:id="br0">
      <inkml:brushProperty name="width" value="0.035" units="cm"/>
      <inkml:brushProperty name="height" value="0.035" units="cm"/>
      <inkml:brushProperty name="color" value="#E71224"/>
    </inkml:brush>
  </inkml:definitions>
  <inkml:trace contextRef="#ctx0" brushRef="#br0">70 1 24575,'-4'4'0,"-2"6"0,0 6 0,1 5 0,2 3 0,1 2 0,-4 1 0,0 1 0,-4 4 0,-1 11 0,2 1 0,8-5 0,2-6 0,7-8 0,2-4 0,-1-1 0,-2 1 0,-3-4-8191</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1:36.748"/>
    </inkml:context>
    <inkml:brush xml:id="br0">
      <inkml:brushProperty name="width" value="0.035" units="cm"/>
      <inkml:brushProperty name="height" value="0.035" units="cm"/>
      <inkml:brushProperty name="color" value="#E71224"/>
    </inkml:brush>
  </inkml:definitions>
  <inkml:trace contextRef="#ctx0" brushRef="#br0">0 26 24575,'5'0'0,"1"-5"0,18-1 0,13 1 0,6 0 0,4 2 0,-2 1 0,-3 5 0,-5 3 0,-9 4 0,-4 1 0,-2-2 0,-4 2 0,-6 0-8191</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3:21.612"/>
    </inkml:context>
    <inkml:brush xml:id="br0">
      <inkml:brushProperty name="width" value="0.035" units="cm"/>
      <inkml:brushProperty name="height" value="0.035" units="cm"/>
      <inkml:brushProperty name="color" value="#E71224"/>
    </inkml:brush>
  </inkml:definitions>
  <inkml:trace contextRef="#ctx0" brushRef="#br0">716 131 24575,'-28'2'0,"-1"2"0,1 1 0,-1 1 0,2 2 0,-1 1 0,-41 19 0,27-6 0,2 2 0,1 2 0,-66 56 0,103-81 0,-32 27 0,-122 105 0,150-127 0,1 1 0,0 0 0,0 0 0,1 0 0,0 1 0,0-1 0,0 1 0,1 0 0,1 0 0,-1 1 0,1-1 0,-1 10 0,-1 13 0,-1 61 0,5-88 0,0 0 0,0 0 0,0 1 0,1-1 0,-1 0 0,1 0 0,0 0 0,1 0 0,-1 0 0,1 0 0,0 0 0,0 0 0,0-1 0,4 7 0,1-3 0,-1-1 0,1 0 0,0 0 0,1-1 0,9 6 0,7 4 0,-8-4 0,-8-5 0,0 0 0,0 0 0,1-1 0,0 0 0,0 0 0,0-1 0,0-1 0,1 1 0,-1-2 0,1 1 0,20 2 0,80-6 0,-78-1 0,0 2 0,-1 1 0,56 9 0,124 27 0,-150-32 0,-1-2 0,63-6 0,84 3 0,-107 13 0,-47-6 0,56 1 0,528-9 0,-616-1 0,1 0 0,41-11 0,-11 2 0,-47 11 0,0-1 0,0 0 0,0 0 0,0-1 0,0 0 0,-1 1 0,1-2 0,0 1 0,-1 0 0,0-1 0,0 0 0,0 0 0,0 0 0,0-1 0,0 1 0,-1-1 0,0 0 0,1 0 0,-2 0 0,1 0 0,0 0 0,-1-1 0,0 1 0,0-1 0,0 0 0,2-7 0,-1-9 0,0 0 0,-1 1 0,-1-1 0,-1 0 0,-3-25 0,0-8 0,5-92 0,-5-103 0,2 240 0,0 1 0,-1-1 0,1 1 0,-2-1 0,1 1 0,-1 0 0,0 0 0,-1 0 0,0 0 0,0 1 0,-1-1 0,0 1 0,0 0 0,0 1 0,-1-1 0,0 1 0,0 0 0,-1 1 0,0-1 0,0 1 0,0 1 0,-1-1 0,1 1 0,-1 0 0,-13-4 0,-46-13 0,-1 2 0,-1 4 0,0 2 0,-1 4 0,-92-1 0,131 10 0,-65 2 0,-173-19 0,221 13 0,-1 1 0,1 3 0,-1 1 0,-88 16 0,83-12-202,-72-3 0,93-2-759,-13 0-5865</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3:33.776"/>
    </inkml:context>
    <inkml:brush xml:id="br0">
      <inkml:brushProperty name="width" value="0.035" units="cm"/>
      <inkml:brushProperty name="height" value="0.035" units="cm"/>
      <inkml:brushProperty name="color" value="#E71224"/>
    </inkml:brush>
  </inkml:definitions>
  <inkml:trace contextRef="#ctx0" brushRef="#br0">1302 182 24575,'-522'0'0,"491"-2"0,-54-9 0,-15-2 0,66 12 0,0 1 0,-66 9 0,88-7 0,0 1 0,1 0 0,-1 0 0,1 1 0,0 0 0,0 1 0,0 0 0,1 1 0,0 1 0,0-1 0,0 1 0,-8 9 0,-5 7 0,1-3 0,2 2 0,0 0 0,2 1 0,-27 42 0,37-50 0,2 1 0,0 0 0,1 0 0,0 0 0,-3 26 0,4-22 0,0 0 0,-1 0 0,-11 24 0,10-26 0,-1 1 0,2 0 0,1 0 0,0 1 0,2-1 0,0 1 0,1-1 0,1 1 0,0 0 0,2-1 0,5 27 0,-5-41 0,0 0 0,0 0 0,0-1 0,1 1 0,0-1 0,0 1 0,0-1 0,0 0 0,1 0 0,-1 0 0,1-1 0,0 1 0,0-1 0,0 0 0,1 0 0,-1-1 0,6 3 0,11 5 0,1 0 0,35 9 0,-25-9 0,-4-3 0,1-2 0,0 0 0,0-2 0,0-2 0,0 0 0,43-6 0,10 3 0,545 2 0,-585 2 0,53 9 0,34 2 0,518-14 0,-637 1 0,0 0 0,0-1 0,0-1 0,0 1 0,0-1 0,0-1 0,-1 0 0,12-5 0,-17 6 0,0-1 0,-1 1 0,1-1 0,-1 0 0,1 0 0,-1 0 0,0-1 0,0 1 0,0-1 0,-1 0 0,0 0 0,1 0 0,-1 0 0,0 0 0,-1 0 0,1 0 0,-1-1 0,0 1 0,0 0 0,1-6 0,3-39 0,-2-1 0,-6-89 0,-1 27 0,5 64 0,1 19 0,-5-48 0,2 69 0,0 0 0,-1 0 0,0 0 0,0 0 0,0 1 0,-1-1 0,-1 1 0,1-1 0,-1 1 0,-8-11 0,2 5 0,0-1 0,-1 1 0,-1 1 0,0 0 0,0 1 0,-1 0 0,-1 1 0,1 1 0,-2 0 0,-18-9 0,8 6 0,1-1 0,0-1 0,-32-25 0,28 19 0,-39-21 0,56 35 0,-1 1 0,1 0 0,-1 1 0,1 0 0,-1 1 0,0 1 0,-18-3 0,-4 1 0,0-1 0,-35-12 0,1 1 0,48 13 0,0 1 0,0 1 0,-1 0 0,1 2 0,-39 6 0,-98 27 0,145-32-136,1 1-1,1 1 1,-1 0-1,0 0 1,1 1-1,0 0 1,0 1-1,1 0 0,-17 14 1,12-7-669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4:11.102"/>
    </inkml:context>
    <inkml:brush xml:id="br0">
      <inkml:brushProperty name="width" value="0.035" units="cm"/>
      <inkml:brushProperty name="height" value="0.035" units="cm"/>
      <inkml:brushProperty name="color" value="#E71224"/>
    </inkml:brush>
  </inkml:definitions>
  <inkml:trace contextRef="#ctx0" brushRef="#br0">1211 6 24575,'-108'-2'0,"52"-1"0,-1 2 0,1 3 0,-109 19 0,22 21 0,-10 3 0,120-34 0,0 0 0,1 3 0,0 1 0,1 1 0,1 1 0,-42 32 0,63-42 0,-1 1 0,2 0 0,-1 0 0,1 1 0,1 0 0,0 0 0,0 0 0,1 1 0,0 1 0,-6 13 0,-4 15 0,-17 65 0,-1 1 0,26-84 0,0 0 0,2 1 0,-7 39 0,12-53 0,0 0 0,1 0 0,0 0 0,0 0 0,0 0 0,1 0 0,1 0 0,-1 0 0,1-1 0,0 1 0,1 0 0,0-1 0,7 14 0,-4-11 0,1 0 0,1-1 0,-1 1 0,1-1 0,1-1 0,-1 0 0,2 0 0,-1 0 0,1-1 0,18 10 0,-14-11 0,0-1 0,1 0 0,-1-1 0,1 0 0,0-2 0,-1 1 0,1-2 0,21 1 0,35-5 0,0-3 0,-1-3 0,0-3 0,74-22 0,-96 25 0,1 2 0,0 3 0,0 1 0,67 6 0,-36-2 0,69-2 0,138 4 0,-235 3 0,-1 2 0,76 21 0,-3-1 0,-72-21 0,1-3 0,0-2 0,59-5 0,-8 1 0,-75 2 0,1 0 0,-1-2 0,1-2 0,-1 0 0,0-2 0,0-1 0,-1-1 0,0-2 0,-1 0 0,44-24 0,-67 30 0,1 0 0,-1 0 0,0 0 0,0 0 0,-1-1 0,1 1 0,-1-1 0,0 0 0,0 0 0,-1 0 0,1-1 0,-1 1 0,0-1 0,-1 1 0,2-10 0,2-11 0,3-54 0,-7 66 0,3-263 0,-6 154 0,2 111 0,-1 0 0,0-1 0,-1 1 0,-1 0 0,0 0 0,0 1 0,-1-1 0,0 1 0,-8-13 0,9 18 0,0 0 0,-1 0 0,1 1 0,-2 0 0,1-1 0,0 2 0,-1-1 0,0 0 0,0 1 0,0 0 0,-1 0 0,1 0 0,-1 1 0,0 0 0,0 0 0,0 1 0,0-1 0,-8-1 0,-45-5 0,-84-4 0,103 11 0,-69-10 0,-43-1 0,-2-1 0,-7 1 0,-524 14-1365,626-1-5461</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4:31.704"/>
    </inkml:context>
    <inkml:brush xml:id="br0">
      <inkml:brushProperty name="width" value="0.035" units="cm"/>
      <inkml:brushProperty name="height" value="0.035" units="cm"/>
      <inkml:brushProperty name="color" value="#E71224"/>
    </inkml:brush>
  </inkml:definitions>
  <inkml:trace contextRef="#ctx0" brushRef="#br0">2118 57 24575,'0'-2'0,"-1"0"0,1-1 0,-1 1 0,0 0 0,0 1 0,0-1 0,0 0 0,0 0 0,0 0 0,-1 0 0,1 1 0,0-1 0,-1 1 0,1-1 0,-1 1 0,0 0 0,0-1 0,1 1 0,-1 0 0,0 0 0,0 0 0,0 0 0,0 1 0,0-1 0,0 1 0,-3-1 0,-59-11 0,-356 6 0,227 10 0,-145 17 0,257-15 0,-138-6 0,-25 0 0,228 3 0,0 0 0,0 1 0,0 0 0,0 2 0,1-1 0,0 2 0,0 0 0,1 1 0,-21 15 0,-11 10 0,-56 54 0,86-74 0,1 2 0,0 0 0,1 1 0,0 0 0,2 1 0,0 0 0,1 1 0,0 1 0,2 0 0,0 0 0,1 1 0,1 0 0,1 0 0,-4 21 0,6-12 0,-5 16 0,3 0 0,1 1 0,2 50 0,4-83 0,0 1 0,1 0 0,0 0 0,1-1 0,1 1 0,0-1 0,1 0 0,0 0 0,1-1 0,0 1 0,1-1 0,1-1 0,0 1 0,15 16 0,1-5 0,2-1 0,53 35 0,-5-4 0,-69-48 0,1-1 0,0 0 0,0-1 0,0 0 0,0 1 0,0-2 0,0 1 0,1-1 0,-1 0 0,1 0 0,0-1 0,0 0 0,0 0 0,-1 0 0,1-1 0,0 0 0,0-1 0,0 1 0,0-1 0,-1-1 0,1 1 0,0-1 0,-1 0 0,1-1 0,-1 0 0,0 0 0,8-4 0,12-9 0,1 1 0,1 1 0,0 2 0,1 1 0,1 1 0,-1 1 0,1 2 0,0 1 0,1 1 0,0 2 0,0 1 0,-1 2 0,1 0 0,0 2 0,0 2 0,-1 1 0,42 11 0,-26-5 0,2-2 0,-1-2 0,1-3 0,51-1 0,-39-2 0,113 18 0,-70-4 0,1-5 0,197-7 0,-161-4 0,-113 1 0,0-2 0,-1 0 0,1-1 0,-1-2 0,43-13 0,-55 10 0,0-1 0,0-1 0,-1 0 0,0-1 0,-1 0 0,0-1 0,14-17 0,-5 6 0,-3 2 0,0-1 0,-2 0 0,0-2 0,-2 1 0,0-2 0,-2 0 0,0 0 0,-2-1 0,-1-1 0,-1 0 0,-2 0 0,0 0 0,-2-1 0,-1 1 0,-1-1 0,-3-49 0,-1 61 0,-1 0 0,-1 1 0,0-1 0,-1 1 0,-1 0 0,0 1 0,-1-1 0,0 1 0,-1 0 0,-1 1 0,-1 0 0,1 0 0,-2 1 0,0 0 0,0 1 0,-1 1 0,0-1 0,-1 2 0,0 0 0,-1 0 0,0 1 0,0 1 0,-1 1 0,0 0 0,0 0 0,0 2 0,-1 0 0,-22-3 0,12 4 0,1 0 0,-1-2 0,1-1 0,1-1 0,-1-1 0,1-1 0,0-2 0,-37-21 0,53 28 5,1 0 1,-1 1-1,0 1 0,0-1 0,0 1 0,0 0 0,-12 0 1,-14-4-1413,12 0-5419</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45.702"/>
    </inkml:context>
    <inkml:brush xml:id="br0">
      <inkml:brushProperty name="width" value="0.035" units="cm"/>
      <inkml:brushProperty name="height" value="0.035" units="cm"/>
      <inkml:brushProperty name="color" value="#E71224"/>
    </inkml:brush>
  </inkml:definitions>
  <inkml:trace contextRef="#ctx0" brushRef="#br0">209 1 24575,'-10'0'0,"0"0"0,0 0 0,0 1 0,0 1 0,1-1 0,-18 7 0,22-6 0,1 0 0,-1 1 0,1-1 0,0 1 0,0 0 0,0 1 0,0-1 0,0 1 0,1-1 0,0 1 0,0 0 0,0 0 0,0 1 0,0-1 0,-2 6 0,-54 107 0,59-116 0,0 0 0,-1 0 0,1-1 0,-1 1 0,1 0 0,0 0 0,0 0 0,0 0 0,0 0 0,-1 0 0,1 0 0,0 0 0,1 0 0,-1 0 0,0 0 0,0 0 0,0 0 0,0-1 0,1 1 0,-1 0 0,0 0 0,1 0 0,-1 0 0,1 0 0,-1-1 0,2 2 0,-1-1 0,1 0 0,-1 1 0,1-1 0,0 0 0,0-1 0,-1 1 0,1 0 0,0 0 0,0-1 0,0 1 0,0-1 0,2 1 0,10 0 0,0 0 0,1-1 0,14-2 0,-14 0 0,2 2 0,-4 0 0,-1 0 0,1-1 0,-1-1 0,0 0 0,22-6 0,-31 7 0,0-1 0,0 1 0,0-1 0,0 1 0,0-1 0,-1 0 0,1 0 0,-1 0 0,1-1 0,-1 1 0,0-1 0,0 1 0,0-1 0,0 0 0,-1 1 0,1-1 0,-1 0 0,1 0 0,-1 0 0,0 0 0,0-1 0,-1 1 0,1 0 0,0 0 0,-1 0 0,0-1 0,0-3 0,-5-33-1365,-1 25-5461</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47.808"/>
    </inkml:context>
    <inkml:brush xml:id="br0">
      <inkml:brushProperty name="width" value="0.035" units="cm"/>
      <inkml:brushProperty name="height" value="0.035" units="cm"/>
      <inkml:brushProperty name="color" value="#E71224"/>
    </inkml:brush>
  </inkml:definitions>
  <inkml:trace contextRef="#ctx0" brushRef="#br0">515 1 24575,'-4'1'0,"-1"0"0,0 0 0,1 1 0,-1 0 0,1-1 0,-1 2 0,1-1 0,0 0 0,0 1 0,0 0 0,-4 4 0,-40 40 0,24-13 0,2 1 0,2 1 0,-21 49 0,23-47 0,-13 37 0,21-46 0,-29 51 0,-3-4 0,22-37 0,-41 57 0,-1-25-1365,42-52-546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13.490"/>
    </inkml:context>
    <inkml:brush xml:id="br0">
      <inkml:brushProperty name="width" value="0.035" units="cm"/>
      <inkml:brushProperty name="height" value="0.035" units="cm"/>
      <inkml:brushProperty name="color" value="#E71224"/>
    </inkml:brush>
  </inkml:definitions>
  <inkml:trace contextRef="#ctx0" brushRef="#br0">14 1 24575,'0'3'0,"0"6"0,0 5 0,-4 0 0,-1 1 0,0-2-8191</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2:49.904"/>
    </inkml:context>
    <inkml:brush xml:id="br0">
      <inkml:brushProperty name="width" value="0.035" units="cm"/>
      <inkml:brushProperty name="height" value="0.035" units="cm"/>
      <inkml:brushProperty name="color" value="#E71224"/>
    </inkml:brush>
  </inkml:definitions>
  <inkml:trace contextRef="#ctx0" brushRef="#br0">138 1 24575,'-4'0'0,"-1"1"0,1-1 0,0 1 0,0 0 0,-1 0 0,1 1 0,0-1 0,0 1 0,0 0 0,0 0 0,1 0 0,-1 1 0,0-1 0,1 1 0,0 0 0,0 0 0,0 0 0,0 0 0,-3 5 0,-5 7 0,1 1 0,1-1 0,-9 23 0,10-21 0,8-16 0,-1-1 0,1 1 0,-1 0 0,1 0 0,0-1 0,-1 1 0,1 0 0,0 0 0,0 0 0,0 0 0,0 0 0,0-1 0,0 1 0,0 0 0,0 0 0,0 0 0,0 0 0,0 0 0,0-1 0,0 1 0,1 0 0,-1 0 0,0 0 0,1-1 0,-1 1 0,1 0 0,-1 0 0,1 0 0,1 0 0,-1 0 0,1 1 0,0-1 0,-1 0 0,1-1 0,0 1 0,0 0 0,0 0 0,0-1 0,0 1 0,0-1 0,2 1 0,66-1 0,-58-1 0,-9 1 0,1 0 0,-1 0 0,0 0 0,0-1 0,0 1 0,0-1 0,0 0 0,1 0 0,-1 0 0,0 0 0,-1-1 0,1 1 0,0-1 0,0 0 0,-1 1 0,1-1 0,-1-1 0,1 1 0,-1 0 0,0 0 0,2-4 0,-2 2 0,0 1 0,-1-1 0,1 0 0,-1 0 0,0 0 0,0 0 0,-1 0 0,1 0 0,-1 0 0,0 0 0,0 0 0,0 0 0,-1 0 0,1 0 0,-1 0 0,0 0 0,-2-4 0,2 5-41,0 0 0,0-1-1,-1 1 1,0 0 0,1 0-1,-1 0 1,0 0 0,-1 1-1,1-1 1,0 0 0,-1 1-1,1 0 1,-1-1 0,0 1-1,0 0 1,0 1 0,0-1-1,0 0 1,0 1 0,-7-2-1,4 0-455,-7-4-6329</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4:36.974"/>
    </inkml:context>
    <inkml:brush xml:id="br0">
      <inkml:brushProperty name="width" value="0.035" units="cm"/>
      <inkml:brushProperty name="height" value="0.035" units="cm"/>
      <inkml:brushProperty name="color" value="#E71224"/>
    </inkml:brush>
  </inkml:definitions>
  <inkml:trace contextRef="#ctx0" brushRef="#br0">0 1221 24575,'9'-1'0,"0"0"0,0-1 0,0 0 0,0 0 0,0-1 0,0 0 0,-1 0 0,0-1 0,0 0 0,15-10 0,8-8 0,36-33 0,-36 28 0,97-69 0,-125 94 0,31-27 0,1 2 0,2 1 0,53-27 0,3 3 0,50-22 0,-95 51 0,-2-3 0,0-1 0,52-39 0,117-104 0,-171 132 0,383-278 0,-410 304 0,1 0 0,0 2 0,1 0 0,22-7 0,1 0 0,-40 14 0,0 0 0,0 1 0,1-1 0,-1 0 0,0 1 0,0 0 0,0-1 0,0 1 0,0 0 0,1 0 0,-1 0 0,0 1 0,0-1 0,0 0 0,0 1 0,0-1 0,0 1 0,0 0 0,0 0 0,0 0 0,3 1 0,-2 1 0,0-1 0,0 1 0,-1 0 0,1 0 0,-1 0 0,1 0 0,-1 1 0,0-1 0,0 0 0,-1 1 0,3 4 0,1 10 0,0 0 0,0 0 0,2 36 0,-6-52 0,-1 2 0,2 10 0,-1 1 0,0-1 0,-3 27 0,2-39 0,0 0 0,0 0 0,0 0 0,0-1 0,-1 1 0,1 0 0,0-1 0,-1 1 0,0 0 0,1-1 0,-1 1 0,0 0 0,0-1 0,1 1 0,-1-1 0,-1 1 0,1-1 0,0 0 0,0 1 0,0-1 0,-1 0 0,1 0 0,0 0 0,-1 0 0,1 0 0,-1 0 0,0 0 0,1-1 0,-1 1 0,1 0 0,-1-1 0,0 0 0,0 1 0,1-1 0,-1 0 0,0 0 0,0 0 0,1 0 0,-1 0 0,0 0 0,0 0 0,-2-1 0,-2-2-105,0 0 0,0 0 0,0 0 0,1-1 0,-1 0 0,1 0 0,0 0 0,0 0 0,1-1 0,-1 0 0,1 0 0,-5-7 0,-9-14-6721</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4:40.460"/>
    </inkml:context>
    <inkml:brush xml:id="br0">
      <inkml:brushProperty name="width" value="0.035" units="cm"/>
      <inkml:brushProperty name="height" value="0.035" units="cm"/>
      <inkml:brushProperty name="color" value="#E71224"/>
    </inkml:brush>
  </inkml:definitions>
  <inkml:trace contextRef="#ctx0" brushRef="#br0">27 95 24575,'-1'70'0,"0"-27"0,1 0 0,2 1 0,9 49 0,3 13 0,-12-81 0,-1-20 0,-1-8 0,-3-52 0,-21-105 0,13 103 0,-6-100 0,17 150 0,1 0 0,0 0 0,0 0 0,1 0 0,-1 0 0,5-10 0,-5 15 0,-1 0 0,1 1 0,-1-1 0,1 0 0,0 1 0,0-1 0,0 1 0,0-1 0,0 1 0,0-1 0,0 1 0,0 0 0,0-1 0,1 1 0,-1 0 0,1 0 0,-1 0 0,1 0 0,-1 0 0,1 0 0,-1 1 0,1-1 0,0 0 0,0 1 0,-1-1 0,1 1 0,0 0 0,0 0 0,-1-1 0,1 1 0,3 1 0,-3 0 0,0 0 0,0 0 0,1 1 0,-1-1 0,0 1 0,0-1 0,0 1 0,-1 0 0,1 0 0,0 0 0,-1 0 0,1 0 0,-1 0 0,1 0 0,-1 1 0,0-1 0,0 0 0,0 1 0,0-1 0,-1 1 0,1-1 0,0 4 0,9 65 0,-9-61 0,5 62 0,-2 1 0,-9 93 0,5-164 0,0 0 0,0-1 0,0 1 0,0 0 0,0 0 0,0 0 0,-1 0 0,1-1 0,-1 1 0,0 0 0,1 0 0,-1-1 0,0 1 0,0 0 0,0-1 0,0 1 0,0-1 0,0 1 0,0-1 0,-1 0 0,1 0 0,-1 1 0,1-1 0,-1 0 0,1 0 0,-3 1 0,4-2 0,-1 0 0,0 0 0,0 0 0,1 0 0,-1-1 0,0 1 0,0 0 0,1 0 0,-1 0 0,0-1 0,1 1 0,-1 0 0,0-1 0,1 1 0,-1 0 0,0-1 0,1 1 0,-1-1 0,1 1 0,-1-1 0,1 0 0,-1 0 0,-11-29 0,7-19 0,2-1 0,3-61 0,0-7 0,3 195-1365,-2-45-5461</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3:09.465"/>
    </inkml:context>
    <inkml:brush xml:id="br0">
      <inkml:brushProperty name="width" value="0.035" units="cm"/>
      <inkml:brushProperty name="height" value="0.035" units="cm"/>
      <inkml:brushProperty name="color" value="#E71224"/>
    </inkml:brush>
  </inkml:definitions>
  <inkml:trace contextRef="#ctx0" brushRef="#br0">356 1 24575,'-77'-1'0,"-85"3"0,157-1 0,0-1 0,1 1 0,-1 1 0,0-1 0,1 1 0,-1-1 0,1 1 0,-1 0 0,1 1 0,0-1 0,0 1 0,0 0 0,0 0 0,1 0 0,-1 1 0,1-1 0,0 1 0,0 0 0,0 0 0,0 0 0,1 0 0,0 0 0,0 0 0,-2 6 0,-1 3 0,1 0 0,0 0 0,1 0 0,1 0 0,0 1 0,0-1 0,2 19 0,0-18 0,0-1 0,0 0 0,1 1 0,0-1 0,5 16 0,-4-24 0,0 0 0,0 1 0,0-1 0,1 0 0,0 0 0,0 0 0,1-1 0,-1 1 0,1-1 0,0 0 0,0 0 0,8 6 0,2 0 0,1 0 0,0-1 0,0-1 0,0 0 0,1-1 0,0-1 0,1 0 0,0-1 0,-1-1 0,1-1 0,1 0 0,-1-2 0,0 1 0,33-3 0,-39-3 0,0 1 0,1-2 0,-1 1 0,-1-2 0,1 1 0,-1-1 0,0-1 0,0 0 0,-1 0 0,10-10 0,-9 9 0,-7 5 0,1 0 0,0 0 0,-1-1 0,0 1 0,0-1 0,0 0 0,0 0 0,0 0 0,2-7 0,-4 10 0,-1 0 0,0 1 0,1-1 0,-1 0 0,0 0 0,0 0 0,0 0 0,0 0 0,0 0 0,0 0 0,0 0 0,0 0 0,0 1 0,-1-1 0,1 0 0,0 0 0,-1 0 0,1 0 0,0 0 0,-1 1 0,0-2 0,0 0 0,-1 1 0,1 0 0,-1 0 0,1 0 0,-1 0 0,0 0 0,1 0 0,-1 0 0,0 0 0,0 1 0,1-1 0,-1 1 0,0-1 0,-3 1 0,-28-4 6,0 2-1,-65 4 0,30 1-1386,34-3-5445</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3:12.106"/>
    </inkml:context>
    <inkml:brush xml:id="br0">
      <inkml:brushProperty name="width" value="0.035" units="cm"/>
      <inkml:brushProperty name="height" value="0.035" units="cm"/>
      <inkml:brushProperty name="color" value="#E71224"/>
    </inkml:brush>
  </inkml:definitions>
  <inkml:trace contextRef="#ctx0" brushRef="#br0">48 0 24575,'0'3'0,"-1"-1"0,0 1 0,0-1 0,0 1 0,0-1 0,-1 0 0,1 1 0,-1-1 0,1 0 0,-1 0 0,-3 3 0,-10 16 0,12-14 0,1 0 0,0 0 0,0 0 0,0 0 0,1 0 0,0 0 0,0 1 0,1-1 0,0 0 0,1 13 0,0-17 0,-1 0 0,1 0 0,0-1 0,0 1 0,0 0 0,0-1 0,0 1 0,1-1 0,-1 1 0,1-1 0,-1 1 0,1-1 0,0 0 0,0 0 0,0 0 0,0 0 0,1 0 0,-1 0 0,0-1 0,1 1 0,-1-1 0,1 0 0,0 1 0,-1-1 0,1-1 0,0 1 0,0 0 0,4 0 0,16 2 0,0-1 0,0-1 0,27-2 0,-42 1 0,0-1 0,0 0 0,0 0 0,0-1 0,0 0 0,0-1 0,0 1 0,-1-1 0,1-1 0,-1 1 0,0-1 0,9-7 0,-14 10 0,0-1 0,0 0 0,0 1 0,0-1 0,-1 0 0,1 0 0,-1 0 0,1-1 0,-1 1 0,0 0 0,1 0 0,-1-1 0,0 1 0,-1-1 0,1 1 0,0-1 0,-1 1 0,1-1 0,-1 0 0,0 1 0,0-1 0,0 1 0,0-1 0,0 0 0,-1 1 0,1-1 0,-1 1 0,0-1 0,1 1 0,-1-1 0,0 1 0,-1-1 0,1 1 0,0 0 0,-1 0 0,1 0 0,-1 0 0,0 0 0,1 0 0,-1 0 0,-4-3 0,-1 0 0,0-1 0,0 1 0,0 0 0,-1 1 0,0 0 0,0 0 0,0 1 0,0 0 0,0 0 0,-1 1 0,-11-2 0,-9 2-1365,2 1-5461</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3:15.093"/>
    </inkml:context>
    <inkml:brush xml:id="br0">
      <inkml:brushProperty name="width" value="0.035" units="cm"/>
      <inkml:brushProperty name="height" value="0.035" units="cm"/>
      <inkml:brushProperty name="color" value="#E71224"/>
    </inkml:brush>
  </inkml:definitions>
  <inkml:trace contextRef="#ctx0" brushRef="#br0">2 243 24575,'0'-29'0,"-1"11"0,1-1 0,1 1 0,0-1 0,1 1 0,7-24 0,-8 38 0,0-1 0,1 1 0,0 0 0,0 0 0,0 0 0,1 0 0,-1 0 0,1 0 0,0 0 0,0 1 0,0 0 0,1-1 0,-1 1 0,1 1 0,0-1 0,0 0 0,0 1 0,0 0 0,0 0 0,0 0 0,0 0 0,1 1 0,-1-1 0,1 1 0,-1 0 0,8 0 0,-9 1 3,0-1-1,0 1 0,0 0 1,1 0-1,-1 0 0,0 0 1,0 1-1,0-1 0,1 1 1,-1 0-1,0 0 1,0 0-1,0 0 0,0 0 1,0 1-1,-1-1 0,1 1 1,0 0-1,-1 0 0,1 0 1,-1 0-1,1 0 1,-1 1-1,0-1 0,0 1 1,0 0-1,-1-1 0,1 1 1,-1 0-1,1 0 0,-1 0 1,0 0-1,0 0 0,0 0 1,0 5-1,3 11-140,-2 0 1,0 1-1,-1-1 0,-4 34 1,2-26-625,0-8-6064</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3:16.235"/>
    </inkml:context>
    <inkml:brush xml:id="br0">
      <inkml:brushProperty name="width" value="0.035" units="cm"/>
      <inkml:brushProperty name="height" value="0.035" units="cm"/>
      <inkml:brushProperty name="color" value="#E71224"/>
    </inkml:brush>
  </inkml:definitions>
  <inkml:trace contextRef="#ctx0" brushRef="#br0">0 17 24575,'4'0'0,"5"0"0,4 0 0,5 0 0,2 0 0,1 0 0,2 0 0,0-3 0,0-2 0,0 0 0,-4 1-8191</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3:18.283"/>
    </inkml:context>
    <inkml:brush xml:id="br0">
      <inkml:brushProperty name="width" value="0.035" units="cm"/>
      <inkml:brushProperty name="height" value="0.035" units="cm"/>
      <inkml:brushProperty name="color" value="#E71224"/>
    </inkml:brush>
  </inkml:definitions>
  <inkml:trace contextRef="#ctx0" brushRef="#br0">0 0 24575,'0'18'0,"1"0"0,0 0 0,1-1 0,1 1 0,1-1 0,0 0 0,7 17 0,1-3 0,-2 1 0,10 59 0,-17-81 0,0 1 0,0 0 0,1-1 0,1 1 0,11 18 0,-10-18 0,0 1 0,-1-1 0,0 1 0,4 15 0,-4-11-1365,1-2-5461</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4:44.572"/>
    </inkml:context>
    <inkml:brush xml:id="br0">
      <inkml:brushProperty name="width" value="0.035" units="cm"/>
      <inkml:brushProperty name="height" value="0.035" units="cm"/>
      <inkml:brushProperty name="color" value="#E71224"/>
    </inkml:brush>
  </inkml:definitions>
  <inkml:trace contextRef="#ctx0" brushRef="#br0">691 54 24575,'-2'-1'0,"-1"0"0,1 0 0,-1 0 0,1 0 0,0 0 0,-1 0 0,1 0 0,0-1 0,0 0 0,0 1 0,-3-4 0,-14-9 0,9 10 0,-1 0 0,1 1 0,-1 0 0,0 1 0,0 0 0,0 0 0,0 1 0,0 1 0,0 0 0,0 0 0,0 1 0,0 1 0,0 0 0,0 0 0,0 1 0,0 0 0,1 1 0,-18 9 0,16-8 0,-1-1 0,0 0 0,0 0 0,0-1 0,0-1 0,-1 0 0,1-1 0,-18-1 0,-2-2 0,0-1 0,-39-10 0,25 7 0,-48 0 0,262 5 0,102 3 0,-254 1 0,0 1 0,1 0 0,-1 1 0,-1 0 0,1 1 0,-1 1 0,0 1 0,15 9 0,-8-4 0,45 19 0,-59-29 0,-2-1 0,-1 0 0,1 0 0,0-1 0,-1 1 0,1-1 0,0 0 0,0-1 0,0 1 0,0-1 0,0 0 0,10-1 0,-15 1 0,1 0 0,-1 0 0,0 0 0,1 0 0,-1 0 0,0 0 0,0 0 0,1 0 0,-1 0 0,0 0 0,0 0 0,1 0 0,-1 0 0,0-1 0,0 1 0,1 0 0,-1 0 0,0 0 0,0 0 0,0-1 0,1 1 0,-1 0 0,0 0 0,0 0 0,0-1 0,0 1 0,1 0 0,-1 0 0,0-1 0,0 1 0,0 0 0,0 0 0,0-1 0,0 1 0,0 0 0,0-1 0,0 1 0,0 0 0,0 0 0,0-1 0,0 1 0,0 0 0,0-1 0,-12-8 0,-21-4 0,-17 6 0,0 2 0,0 3 0,-82 5 0,23 0 0,43-1 0,-61-2 0,114-1 0,1 0 0,-1-1 0,0 0 0,1-1 0,-1-1 0,1 0 0,-14-7 0,25 11 0,0 0 0,1 0 0,-1 0 0,1 0 0,-1-1 0,1 1 0,-1 0 0,1 0 0,-1 0 0,1-1 0,-1 1 0,1 0 0,-1-1 0,1 1 0,-1 0 0,1-1 0,-1 1 0,1-1 0,0 1 0,-1-1 0,1 1 0,0-1 0,-1 1 0,1-1 0,0 1 0,0-1 0,0 1 0,-1-1 0,1 1 0,0-1 0,0 1 0,0-1 0,0 0 0,0 1 0,0-1 0,0 0 0,21-8 0,33 4 0,10 7 0,120 18 0,-107-13 0,0-3 0,82-7 0,38 1 0,-193 3 0,3-1 0,-1 0 0,0 0 0,0 1 0,1 0 0,-1 0 0,0 1 0,8 2 0,-14-4-20,0 1 0,0-1 0,1 0 0,-1 0 0,0 1 0,0-1 0,0 0 0,0 0-1,0 0 1,1 1 0,-1-1 0,0 0 0,0 1 0,0-1 0,0 0 0,0 0 0,0 1 0,0-1 0,0 0-1,0 0 1,0 1 0,0-1 0,0 0 0,0 1 0,0-1 0,0 0 0,0 0 0,-1 1 0,1-1 0,0 0 0,0 0-1,0 1 1,0-1 0,0 0 0,-1 0 0,1 0 0,0 1 0,0-1 0,0 0 0,-1 0 0,1 0 0,0 0-1,0 1 1,-1-1 0,1 0 0,0 0 0,0 0 0,-1 0 0,1 0 0,0 0 0,0 0 0,-1 0 0,1 0 0,0 0-1,-1 0 1,1 0 0,0 0 0,0 0 0,-1 0 0,1 0 0,0 0 0,0 0 0,-1 0 0,1 0 0,0 0 0,-1 0-20,-14 3-6786</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4:51.077"/>
    </inkml:context>
    <inkml:brush xml:id="br0">
      <inkml:brushProperty name="width" value="0.035" units="cm"/>
      <inkml:brushProperty name="height" value="0.035" units="cm"/>
      <inkml:brushProperty name="color" value="#E71224"/>
    </inkml:brush>
  </inkml:definitions>
  <inkml:trace contextRef="#ctx0" brushRef="#br0">392 1 24575,'1'16'0,"-2"1"0,0 0 0,-1 0 0,0-1 0,-1 1 0,-1-1 0,-1 0 0,0 0 0,-1 0 0,-1-1 0,-1 0 0,0 0 0,0-1 0,-14 17 0,53-54 0,-23 19 0,-1-1 0,1 0 0,-1-1 0,10-9 0,-17 15 0,0-1 0,0 1 0,0 0 0,0 0 0,1 0 0,-1 0 0,0 0 0,0-1 0,0 1 0,0 0 0,0 0 0,0 0 0,0-1 0,0 1 0,0 0 0,0 0 0,0 0 0,0 0 0,0-1 0,0 1 0,0 0 0,0 0 0,0 0 0,0-1 0,0 1 0,0 0 0,0 0 0,0 0 0,0 0 0,0-1 0,0 1 0,0 0 0,-1 0 0,1 0 0,0 0 0,0-1 0,0 1 0,0 0 0,0 0 0,0 0 0,-1 0 0,1 0 0,0 0 0,0 0 0,-1-1 0,-12-2 0,-16 1 0,29 2 0,-33-1 0,0 3 0,0 1 0,0 1 0,0 1 0,-44 15 0,66-16 0,0 1 0,0 0 0,1 0 0,0 1 0,-15 12 0,25-18 0,0 1 0,1-1 0,-1 1 0,1-1 0,-1 1 0,1-1 0,-1 1 0,1-1 0,-1 0 0,1 1 0,-1-1 0,1 0 0,0 1 0,-1-1 0,1 0 0,-1 0 0,1 0 0,0 0 0,-1 0 0,1 1 0,-1-1 0,1 0 0,0 0 0,-1 0 0,1-1 0,0 1 0,-1 0 0,2 0 0,24 1 0,-18-3 0,0 1 0,0-2 0,0 1 0,0-1 0,-1 0 0,12-8 0,-10 7 0,0-1 0,-1 2 0,1-1 0,14-3 0,221-58 0,-238 63 0,1 0 0,-1 1 0,1 0 0,0 1 0,0-1 0,8 2 0,-14-1 0,0 0 0,0 0 0,-1 0 0,1 0 0,0 0 0,0 0 0,-1 0 0,1 0 0,0 1 0,-1-1 0,1 0 0,0 1 0,-1-1 0,1 0 0,0 1 0,-1-1 0,1 1 0,-1-1 0,1 1 0,-1-1 0,1 1 0,-1-1 0,1 1 0,0 1 0,-1-1 0,-1 1 0,1-1 0,0 0 0,-1 1 0,1-1 0,-1 0 0,1 1 0,-1-1 0,1 0 0,-1 0 0,0 0 0,0 1 0,0-1 0,0 0 0,0 0 0,0 0 0,0-1 0,0 1 0,-2 1 0,-4 4 0,-1-1 0,-1 0 0,1 0 0,-1-1 0,0 0 0,0 0 0,0-1 0,-14 3 0,-3-1 0,-50 5 0,63-9 0,1 0 0,-1 0 0,1 2 0,-1-1 0,1 2 0,0-1 0,0 2 0,1-1 0,-1 2 0,1 0 0,0 0 0,0 1 0,1 0 0,-12 11 0,-10 13 0,24-22 0,-1-1 0,1 1 0,-2-2 0,-18 14 0,28-21 0,-1 0 0,1 1 0,0-1 0,-1 0 0,1 0 0,-1 1 0,1-1 0,0 0 0,-1 0 0,1 1 0,-1-1 0,1 0 0,-1 0 0,1 0 0,-1 0 0,1 0 0,-1 0 0,1 0 0,-1 0 0,1 0 0,-1 0 0,1 0 0,-1 0 0,1 0 0,-1 0 0,1-1 0,0 1 0,-1 0 0,1 0 0,-1 0 0,1-1 0,-1 1 0,1 0 0,0 0 0,-1-1 0,1 0 0,1-18 0,16-21 0,-8 29 0,0 0 0,1 0 0,0 1 0,1 1 0,0-1 0,1 2 0,0 0 0,0 0 0,1 1 0,-1 1 0,18-7 0,34-14 0,-40 18 0,-1 0 0,0-2 0,36-23 0,-59 34 0,-1 0 0,1 0 0,-1 0 0,1 0 0,-1 0 0,1 0 0,-1-1 0,1 1 0,0 0 0,-1 0 0,1 0 0,-1 0 0,1-1 0,-1 1 0,1 0 0,-1 0 0,1-1 0,0 1 0,-1 0 0,1-1 0,0 1 0,-1 0 0,1-1 0,0 1 0,0 0 0,-1-1 0,1 1 0,0-1 0,0 1 0,-1-1 0,1 1 0,0 0 0,0-1 0,0 1 0,0-1 0,0 1 0,0-1 0,0 1 0,0-1 0,0 1 0,0-1 0,0 1 0,0-1 0,0 1 0,0-1 0,0 1 0,1-1 0,-1 1 0,0 0 0,0-1 0,0 1 0,1-1 0,-1 1 0,0 0 0,1-1 0,-1 1 0,0 0 0,1-1 0,-1 1 0,0 0 0,1-1 0,-1 1 0,1 0 0,-1 0 0,1-1 0,-41-1 0,31 3 0,0 0 0,0 0 0,1 1 0,-1 0 0,1 1 0,0 0 0,-1 0 0,1 1 0,1 0 0,-15 9 0,10-3 0,1 0 0,0 1 0,1 0 0,0 1 0,-12 17 0,-8 9-1365,17-24-546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17.571"/>
    </inkml:context>
    <inkml:brush xml:id="br0">
      <inkml:brushProperty name="width" value="0.035" units="cm"/>
      <inkml:brushProperty name="height" value="0.035" units="cm"/>
      <inkml:brushProperty name="color" value="#E71224"/>
    </inkml:brush>
  </inkml:definitions>
  <inkml:trace contextRef="#ctx0" brushRef="#br0">0 0 24575,'0'0'0</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6:57.056"/>
    </inkml:context>
    <inkml:brush xml:id="br0">
      <inkml:brushProperty name="width" value="0.035" units="cm"/>
      <inkml:brushProperty name="height" value="0.035" units="cm"/>
      <inkml:brushProperty name="color" value="#E71224"/>
    </inkml:brush>
  </inkml:definitions>
  <inkml:trace contextRef="#ctx0" brushRef="#br0">0 1 24575,'11'43'0,"-1"-10"0,-1 13 0,2-1 0,21 52 0,-14-43 0,-7-11 0,-1 0 0,-3 1 0,4 79 0,-7-58 0,1-27 0,17 62 0,-16-79 0,0 1 0,-1 0 0,-2 0 0,0 0 0,-1 1 0,-1-1 0,-2 0 0,-3 35 0,1-44 0,-11 44 0,13-54 0,0 0 0,0-1 0,0 1 0,-1 0 0,1-1 0,-1 1 0,1-1 0,-1 1 0,0-1 0,0 0 0,0 0 0,0 1 0,-1-2 0,1 1 0,-5 3 0,6-5 4,0 0-1,0 1 0,0-1 1,0 0-1,0 0 1,0 0-1,0 0 0,0 0 1,0-1-1,0 1 0,0 0 1,0 0-1,0-1 1,0 1-1,0-1 0,0 1 1,0-1-1,0 1 0,0-1 1,0 1-1,0-1 1,0 0-1,1 1 0,-1-1 1,0 0-1,1 0 0,-1 0 1,0 0-1,1 0 1,-1 0-1,1 1 0,-1-3 1,-14-32-1481,8 13-5349</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6:58.604"/>
    </inkml:context>
    <inkml:brush xml:id="br0">
      <inkml:brushProperty name="width" value="0.035" units="cm"/>
      <inkml:brushProperty name="height" value="0.035" units="cm"/>
      <inkml:brushProperty name="color" value="#E71224"/>
    </inkml:brush>
  </inkml:definitions>
  <inkml:trace contextRef="#ctx0" brushRef="#br0">0 2 24575,'32'0'0,"26"-2"0,0 3 0,1 3 0,106 21 0,-103-14-86,0-2 0,1-3 0,0-3 0,71-5 0,-67 0-849,-41 2-5891</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03.354"/>
    </inkml:context>
    <inkml:brush xml:id="br0">
      <inkml:brushProperty name="width" value="0.035" units="cm"/>
      <inkml:brushProperty name="height" value="0.035" units="cm"/>
      <inkml:brushProperty name="color" value="#E71224"/>
    </inkml:brush>
  </inkml:definitions>
  <inkml:trace contextRef="#ctx0" brushRef="#br0">0 29 24575,'1'5'0,"1"0"0,-1 0 0,1 0 0,0 0 0,0 0 0,1 0 0,-1-1 0,7 8 0,5 13 0,10 37 0,19 73 0,-27-81 0,-10-29 0,-2 0 0,-1 0 0,-1 1 0,-1-1 0,-4 39 0,2-36 0,-25-186 0,21 48 0,10-116 0,-4 223 0,0-1 0,0 1 0,0-1 0,0 0 0,1 1 0,-1 0 0,1-1 0,0 1 0,0 0 0,0 0 0,0 0 0,1 0 0,-1 0 0,1 1 0,0-1 0,0 1 0,0 0 0,0 0 0,0 0 0,0 0 0,1 0 0,-1 0 0,0 1 0,1 0 0,0 0 0,-1 0 0,1 0 0,5 0 0,13-3 0,1 1 0,-1 2 0,34 1 0,-42 0 0,-8 0 0,-1 0 0,1 0 0,0 1 0,-1 0 0,1 0 0,-1 0 0,0 1 0,1 0 0,-1 0 0,0 0 0,0 0 0,0 1 0,0 0 0,-1 0 0,5 4 0,-7-5 0,0 1 0,0 0 0,0-1 0,0 1 0,-1 0 0,1 0 0,-1-1 0,0 1 0,0 0 0,0 0 0,0 1 0,0-1 0,-1 0 0,0 0 0,1 0 0,-1 0 0,0 1 0,-1-1 0,1 0 0,0 0 0,-1 0 0,0 0 0,0 0 0,0 0 0,0 0 0,0 0 0,0 0 0,-3 3 0,-3 4 0,-1 0 0,1-1 0,-2 0 0,1 0 0,-1-1 0,-1-1 0,1 1 0,-1-1 0,-20 10 0,-19 2 0,41-17 0,1 1 0,-1 0 0,1 0 0,-1 0 0,1 1 0,0 0 0,0 0 0,1 1 0,-11 9 0,16-13 0,0 0 0,0 0 0,1-1 0,-1 1 0,1 0 0,-1 0 0,1 0 0,-1 0 0,1 0 0,0-1 0,-1 1 0,1 0 0,0 0 0,0 0 0,-1 0 0,1 0 0,0 0 0,0 0 0,0 0 0,0 0 0,0 0 0,1 0 0,-1 0 0,0 0 0,1 2 0,0-1 0,0 0 0,0-1 0,1 1 0,-1-1 0,1 1 0,-1-1 0,1 1 0,0-1 0,-1 0 0,1 0 0,0 1 0,2-1 0,9 5 0,0 0 0,1-2 0,15 4 0,-13-3 0,7 4 20,-1 2 0,1 1 0,-2 0-1,0 2 1,28 22 0,47 30-1504,-77-56-5342</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05.306"/>
    </inkml:context>
    <inkml:brush xml:id="br0">
      <inkml:brushProperty name="width" value="0.035" units="cm"/>
      <inkml:brushProperty name="height" value="0.035" units="cm"/>
      <inkml:brushProperty name="color" value="#E71224"/>
    </inkml:brush>
  </inkml:definitions>
  <inkml:trace contextRef="#ctx0" brushRef="#br0">2 573 24575,'-2'-140'0,"5"-151"0,-2 283 0,0-1 0,1 1 0,0-1 0,0 1 0,1 0 0,0 0 0,1 0 0,0 0 0,0 0 0,0 1 0,1 0 0,9-11 0,-12 15 0,0 1 0,1 0 0,-1-1 0,1 1 0,-1 0 0,1 1 0,0-1 0,-1 0 0,1 1 0,0-1 0,0 1 0,0 0 0,0 0 0,1 0 0,-1 1 0,0-1 0,0 1 0,0-1 0,1 1 0,-1 0 0,0 0 0,0 1 0,1-1 0,-1 1 0,0 0 0,0-1 0,0 1 0,0 1 0,0-1 0,0 0 0,0 1 0,0-1 0,0 1 0,-1 0 0,4 3 0,5 6 0,0 0 0,0 2 0,-2-1 0,0 1 0,0 0 0,-1 1 0,-1 0 0,0 0 0,9 27 0,20 38 0,-26-57-136,-1 1-1,-1 1 1,-1 0-1,-1 0 1,-1 0-1,-1 0 1,-1 1-1,-1 0 0,-2 35 1,0-31-6690</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06.839"/>
    </inkml:context>
    <inkml:brush xml:id="br0">
      <inkml:brushProperty name="width" value="0.035" units="cm"/>
      <inkml:brushProperty name="height" value="0.035" units="cm"/>
      <inkml:brushProperty name="color" value="#E71224"/>
    </inkml:brush>
  </inkml:definitions>
  <inkml:trace contextRef="#ctx0" brushRef="#br0">0 1 24575,'5'0'0,"5"0"0,6 0 0,5 0 0,3 0 0,2 0 0,1 0 0,-3 4 0,-3 2 0,1 0 0,-4-1-8191</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09.728"/>
    </inkml:context>
    <inkml:brush xml:id="br0">
      <inkml:brushProperty name="width" value="0.035" units="cm"/>
      <inkml:brushProperty name="height" value="0.035" units="cm"/>
      <inkml:brushProperty name="color" value="#E71224"/>
    </inkml:brush>
  </inkml:definitions>
  <inkml:trace contextRef="#ctx0" brushRef="#br0">85 501 24575,'-1'-5'0,"0"0"0,-1 0 0,1 1 0,-1-1 0,0 1 0,0-1 0,-1 1 0,-4-7 0,-6-10 0,7 3 0,0-1 0,1 1 0,1-1 0,0 0 0,0-26 0,-3-11 0,-6-47 0,12 91 0,1 0 0,0-1 0,1 1 0,0 0 0,0 0 0,6-17 0,-7 28 0,0-1 0,1 0 0,-1 1 0,1-1 0,0 1 0,-1-1 0,1 1 0,0-1 0,0 1 0,0-1 0,0 1 0,0 0 0,0-1 0,0 1 0,0 0 0,1 0 0,-1 0 0,0 0 0,1 0 0,-1 0 0,1 0 0,-1 0 0,1 1 0,-1-1 0,1 1 0,0-1 0,1 0 0,0 2 0,0-1 0,0 1 0,0 0 0,0-1 0,0 1 0,-1 0 0,1 1 0,0-1 0,-1 0 0,1 1 0,-1-1 0,1 1 0,-1 0 0,3 3 0,5 4 0,-1 1 0,0 0 0,-1 0 0,0 1 0,13 23 0,-12-13 0,-1 0 0,5 24 0,-10-30 0,1-1 0,0 0 0,1 0 0,1 0 0,0-1 0,1 0 0,12 17 0,100 154 0,-103-163 0,-7-9 0,0 0 0,1-1 0,15 14 0,-25-24 0,1-1 0,-1 1 0,1-1 0,-1 1 0,1-1 0,-1 0 0,1 1 0,-1-1 0,1 0 0,-1 1 0,1-1 0,-1 0 0,1 0 0,0 0 0,-1 0 0,1 1 0,-1-1 0,1 0 0,0 0 0,-1 0 0,1 0 0,-1 0 0,1 0 0,0 0 0,-1-1 0,1 1 0,-1 0 0,1 0 0,0 0 0,-1-1 0,1 1 0,-1 0 0,1-1 0,10-21 0,-6-36 0,-5 54 0,-4-318 0,2 304-49,-2-1 1,0 1-1,-1 0 0,-10-24 0,5 15-1072,4 9-5705</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13.465"/>
    </inkml:context>
    <inkml:brush xml:id="br0">
      <inkml:brushProperty name="width" value="0.035" units="cm"/>
      <inkml:brushProperty name="height" value="0.035" units="cm"/>
      <inkml:brushProperty name="color" value="#E71224"/>
    </inkml:brush>
  </inkml:definitions>
  <inkml:trace contextRef="#ctx0" brushRef="#br0">350 189 24575,'-1'-11'0,"-1"0"0,-1 1 0,1-1 0,-2 1 0,1 0 0,-2 0 0,1 0 0,-1 1 0,-1-1 0,0 1 0,0 0 0,-1 1 0,0 0 0,0 0 0,-16-13 0,18 18 0,0 0 0,0 0 0,-1 0 0,1 1 0,-1 0 0,1 0 0,-1 1 0,0-1 0,0 1 0,0 1 0,0-1 0,0 1 0,0 0 0,0 0 0,1 1 0,-1-1 0,0 1 0,0 1 0,-9 2 0,5 0 0,1 0 0,-1 0 0,1 1 0,0 0 0,0 1 0,1 0 0,0 1 0,0-1 0,0 2 0,-10 11 0,14-11 0,-1 1 0,1 0 0,1 0 0,0 1 0,0-1 0,1 0 0,0 1 0,0 0 0,1-1 0,1 1 0,-1 0 0,2 0 0,-1-1 0,1 1 0,1 0 0,3 11 0,-4-17 0,1 0 0,0 0 0,1 0 0,-1 0 0,1 0 0,0-1 0,-1 1 0,1-1 0,1 0 0,-1 0 0,1 0 0,-1 0 0,1-1 0,0 1 0,0-1 0,0 0 0,0 0 0,0 0 0,5 1 0,13 3 0,-1 0 0,40 4 0,-24-4 0,-22-3 0,0 1 0,0 0 0,0 1 0,-1 1 0,27 13 0,-36-16 0,0 0 0,0 1 0,-1-1 0,1 1 0,-1 0 0,0 0 0,0 0 0,0 1 0,0-1 0,-1 1 0,0 0 0,0 0 0,0 0 0,-1 0 0,1 0 0,-1 1 0,-1-1 0,3 12 0,-4-11 0,-1 0 0,1-1 0,-2 1 0,1 0 0,0 0 0,-1-1 0,0 1 0,-1-1 0,1 1 0,-1-1 0,0 0 0,0 0 0,0 0 0,-1 0 0,0-1 0,0 1 0,0-1 0,-1 0 0,1-1 0,-1 1 0,0-1 0,0 1 0,0-1 0,0-1 0,-11 5 0,6-5 17,0 1 0,0-2 1,0 1-1,0-1 0,0-1 0,-10 0 0,15-1-110,1 1 0,0-1 1,-1 0-1,1 0 0,0 0 0,0-1 0,-1 1 0,1-1 1,0 0-1,1 0 0,-1 0 0,0-1 0,1 0 1,-1 1-1,-5-7 0,-4-8-6733</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15.698"/>
    </inkml:context>
    <inkml:brush xml:id="br0">
      <inkml:brushProperty name="width" value="0.035" units="cm"/>
      <inkml:brushProperty name="height" value="0.035" units="cm"/>
      <inkml:brushProperty name="color" value="#E71224"/>
    </inkml:brush>
  </inkml:definitions>
  <inkml:trace contextRef="#ctx0" brushRef="#br0">204 867 24575,'0'0'0,"-1"0"0,1-1 0,-1 1 0,1 0 0,-1 0 0,1 0 0,-1 0 0,1 0 0,-1-1 0,1 1 0,-1 0 0,1-1 0,-1 1 0,1 0 0,-1-1 0,1 1 0,0 0 0,-1-1 0,1 1 0,0-1 0,-1 1 0,1-1 0,0 1 0,0 0 0,-1-1 0,1 1 0,0-1 0,0 0 0,0 1 0,0-1 0,0 1 0,0-1 0,0 1 0,0-1 0,0 0 0,1-26 0,1 15 0,-6-30 0,-1 0 0,-2 0 0,-1 1 0,-3 0 0,-17-44 0,-30-126 0,24 97 0,23 83 0,1 0 0,-8-50 0,17 78 0,1 1 0,-1-1 0,1 0 0,0 0 0,0 1 0,1-1 0,-1 0 0,0 0 0,1 1 0,0-1 0,-1 0 0,3-3 0,-3 5 0,1 0 0,-1 1 0,1-1 0,0 0 0,0 0 0,-1 0 0,1 0 0,0 1 0,0-1 0,0 0 0,0 1 0,0-1 0,0 1 0,0-1 0,0 1 0,0-1 0,0 1 0,0 0 0,0-1 0,3 1 0,1 0 0,0 1 0,1-1 0,-1 1 0,0 0 0,0 1 0,1-1 0,-1 1 0,0 0 0,0 0 0,6 5 0,17 6 0,49 16 0,-48-20 0,53 26 0,-53-18-90,-18-10-92,0-1 0,0 0 0,1 0-1,-1-1 1,1-1 0,21 6 0,-14-9-6644</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16.714"/>
    </inkml:context>
    <inkml:brush xml:id="br0">
      <inkml:brushProperty name="width" value="0.035" units="cm"/>
      <inkml:brushProperty name="height" value="0.035" units="cm"/>
      <inkml:brushProperty name="color" value="#E71224"/>
    </inkml:brush>
  </inkml:definitions>
  <inkml:trace contextRef="#ctx0" brushRef="#br0">0 11 24575,'5'0'0,"5"0"0,7 0 0,4 0 0,7 0 0,0-5 0,-6-1-8191</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19.168"/>
    </inkml:context>
    <inkml:brush xml:id="br0">
      <inkml:brushProperty name="width" value="0.035" units="cm"/>
      <inkml:brushProperty name="height" value="0.035" units="cm"/>
      <inkml:brushProperty name="color" value="#E71224"/>
    </inkml:brush>
  </inkml:definitions>
  <inkml:trace contextRef="#ctx0" brushRef="#br0">74 235 24575,'86'1'0,"98"-3"0,-176 1 0,1 0 0,-1-1 0,0 0 0,0 0 0,0-1 0,-1 0 0,1-1 0,-1 1 0,1-1 0,-1-1 0,0 1 0,-1-1 0,1-1 0,8-8 0,-12 11 0,-1 1 0,0 0 0,0-1 0,-1 1 0,1-1 0,0 0 0,-1 1 0,1-1 0,-1 0 0,0 0 0,0 0 0,0 0 0,-1 0 0,1 0 0,-1 0 0,1 0 0,-1 0 0,0 0 0,0-1 0,-1 1 0,1 0 0,0 0 0,-1 0 0,0 0 0,0 0 0,0 0 0,0 0 0,0 0 0,-1 1 0,1-1 0,-1 0 0,0 1 0,0-1 0,0 1 0,0-1 0,0 1 0,0 0 0,0 0 0,-1 0 0,-2-1 0,-4-5 0,0 2 0,0 0 0,-1 0 0,1 0 0,-1 1 0,0 1 0,-1-1 0,1 2 0,-1 0 0,0 0 0,0 1 0,0 0 0,0 0 0,0 2 0,0-1 0,0 1 0,0 1 0,-1 0 0,1 1 0,0 0 0,1 0 0,-1 1 0,0 1 0,1 0 0,0 0 0,-1 1 0,2 0 0,-1 1 0,1 0 0,0 1 0,0 0 0,0 0 0,1 1 0,1 0 0,-12 13 0,7 2 0,0 0 0,1 0 0,1 1 0,1 0 0,1 1 0,2 0 0,-5 31 0,11-55 0,-1 3 0,0 1 0,0-1 0,1 1 0,0-1 0,0 1 0,0-1 0,1 1 0,0-1 0,-1 1 0,2-1 0,-1 0 0,0 1 0,1-1 0,0 0 0,0 0 0,0 0 0,0 0 0,1 0 0,-1-1 0,1 1 0,0-1 0,0 1 0,0-1 0,1 0 0,-1 0 0,1-1 0,0 1 0,0-1 0,0 0 0,0 0 0,0 0 0,7 2 0,1 1 0,1-2 0,-1 1 0,1-1 0,-1-1 0,1 0 0,0-1 0,-1-1 0,1 0 0,0 0 0,20-4 0,-3-2-273,0 0 0,-1-3 0,0 0 0,30-15 0,-43 16-6553</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24.651"/>
    </inkml:context>
    <inkml:brush xml:id="br0">
      <inkml:brushProperty name="width" value="0.035" units="cm"/>
      <inkml:brushProperty name="height" value="0.035" units="cm"/>
      <inkml:brushProperty name="color" value="#E71224"/>
    </inkml:brush>
  </inkml:definitions>
  <inkml:trace contextRef="#ctx0" brushRef="#br0">0 6 24575,'65'-2'0,"-43"0"0,0 0 0,1 2 0,-1 1 0,0 1 0,0 1 0,24 6 0,-43-8 0,0 0 0,-1 0 0,1 1 0,0-1 0,-1 1 0,0-1 0,1 1 0,-1 0 0,0 0 0,0 0 0,0 0 0,0 0 0,0 0 0,0 1 0,0-1 0,-1 1 0,1-1 0,-1 1 0,0-1 0,0 1 0,0 0 0,0 0 0,0 0 0,-1-1 0,1 1 0,-1 0 0,0 0 0,0 0 0,0 0 0,0 0 0,0 0 0,-1 0 0,1 0 0,-1-1 0,0 1 0,-1 4 0,-2 4 0,0 0 0,0-1 0,-1 1 0,0-1 0,-1 0 0,0 0 0,-1 0 0,-7 8 0,10-14 9,1 1 1,-1 0-1,1-1 0,0 1 0,1 1 0,-1-1 0,1 0 1,0 1-1,0-1 0,1 1 0,-2 7 0,1 64-1189,2-71 885,0 13-6531</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22.311"/>
    </inkml:context>
    <inkml:brush xml:id="br0">
      <inkml:brushProperty name="width" value="0.035" units="cm"/>
      <inkml:brushProperty name="height" value="0.035" units="cm"/>
      <inkml:brushProperty name="color" value="#E71224"/>
    </inkml:brush>
  </inkml:definitions>
  <inkml:trace contextRef="#ctx0" brushRef="#br0">0 86 24575,'2'4'0,"-1"1"0,1-1 0,-1 0 0,1 1 0,1-1 0,-1 0 0,0 0 0,1 0 0,0-1 0,6 7 0,4 7 0,5 12 0,-2 0 0,-1 2 0,-1 0 0,-1 0 0,13 54 0,-23-56 0,-3-29 0,0 0 0,-1 0 0,1 0 0,0 0 0,0 0 0,-1 0 0,1 0 0,0 0 0,-1 0 0,1 0 0,0 0 0,-1 0 0,1 0 0,0 0 0,0-1 0,-1 1 0,1 0 0,0 0 0,0 0 0,-1 0 0,1 0 0,0-1 0,0 1 0,-1 0 0,1 0 0,0 0 0,0-1 0,0 1 0,-1 0 0,1 0 0,0-1 0,0 1 0,0 0 0,0 0 0,0-1 0,-1 1 0,1 0 0,0-1 0,0 1 0,-28-49 0,25 43 0,-3-8 0,0 0 0,1 0 0,1 0 0,1 0 0,0-1 0,0 0 0,2 1 0,-1-1 0,2 0 0,0 0 0,3-19 0,-2 31 0,0-1 0,0 1 0,0-1 0,0 1 0,1 0 0,0 0 0,-1-1 0,1 1 0,0 0 0,0 0 0,1 1 0,-1-1 0,1 0 0,-1 1 0,1 0 0,0-1 0,4-2 0,63-32 0,-40 23 0,-11 5 0,0 0 0,1 1 0,0 1 0,0 1 0,1 0 0,38-4 0,-56 9 0,-1 1 0,1-1 0,0 1 0,0 0 0,-1 0 0,1 0 0,0 0 0,0 0 0,-1 0 0,1 1 0,0-1 0,-1 1 0,1 0 0,0 0 0,4 2 0,-5-1 0,-1 0 0,1 1 0,-1-1 0,0 0 0,0 1 0,0-1 0,0 1 0,0 0 0,-1-1 0,1 1 0,-1-1 0,0 1 0,1 0 0,-1-1 0,0 1 0,-1 0 0,1 2 0,0-1 0,-1 0 0,1 0 0,-1 0 0,0 0 0,0 0 0,0 0 0,0 0 0,-1 0 0,0 0 0,1-1 0,-1 1 0,-1-1 0,1 1 0,0-1 0,-1 0 0,0 0 0,0 0 0,0 0 0,0 0 0,-6 4 0,-7 2 0,1 0 0,-1-2 0,-30 12 0,-26 12 0,68-29 0,1 0 0,-1 0 0,1 1 0,0-1 0,0 0 0,0 1 0,0 0 0,1 0 0,-1 0 0,1 0 0,-1 0 0,1 0 0,0 1 0,0-1 0,1 1 0,-1-1 0,1 1 0,-1 4 0,2-5 0,0 0 0,0 0 0,0 0 0,1 0 0,-1 0 0,1 0 0,0-1 0,0 1 0,0 0 0,0 0 0,1-1 0,-1 1 0,1 0 0,0-1 0,-1 0 0,1 1 0,0-1 0,0 0 0,1 0 0,-1 0 0,0 0 0,1-1 0,-1 1 0,4 1 0,22 16 0,2-2 0,-1-2 0,56 21 0,-70-32 27,0 0 0,0-2-1,0 0 1,24 0-1,36 5-1524,-52-2-5328</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23.859"/>
    </inkml:context>
    <inkml:brush xml:id="br0">
      <inkml:brushProperty name="width" value="0.035" units="cm"/>
      <inkml:brushProperty name="height" value="0.035" units="cm"/>
      <inkml:brushProperty name="color" value="#E71224"/>
    </inkml:brush>
  </inkml:definitions>
  <inkml:trace contextRef="#ctx0" brushRef="#br0">0 1 24575,'3'50'0,"2"0"0,2-1 0,2 0 0,3 0 0,30 82 0,-34-99 0,0 1 0,-2 0 0,3 62 0,-8-81 0,4 20 42,0-1-1,14 40 0,-10-40-785,9 67-1,-18-89-6081</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26.318"/>
    </inkml:context>
    <inkml:brush xml:id="br0">
      <inkml:brushProperty name="width" value="0.035" units="cm"/>
      <inkml:brushProperty name="height" value="0.035" units="cm"/>
      <inkml:brushProperty name="color" value="#E71224"/>
    </inkml:brush>
  </inkml:definitions>
  <inkml:trace contextRef="#ctx0" brushRef="#br0">85 7 24575,'-3'0'0,"0"0"0,0 0 0,1 0 0,-1 1 0,0 0 0,0-1 0,0 1 0,0 0 0,1 0 0,-1 1 0,0-1 0,1 0 0,-1 1 0,1 0 0,-1 0 0,1-1 0,0 1 0,-3 4 0,2-2 0,-1 1 0,1 0 0,1 0 0,-1 0 0,1 0 0,-1 0 0,1 1 0,1-1 0,-2 7 0,1 1 0,0-1 0,1 1 0,0-1 0,1 1 0,1-1 0,0 1 0,0-1 0,6 18 0,-5-23 0,1-1 0,1 1 0,-1-1 0,1 0 0,0 0 0,0 0 0,1-1 0,0 0 0,0 0 0,0 0 0,0 0 0,1-1 0,0 0 0,0 0 0,0 0 0,0-1 0,9 4 0,-8-4 0,0 0 0,0-1 0,1 1 0,-1-1 0,0-1 0,1 1 0,0-1 0,-1-1 0,1 0 0,0 0 0,-1 0 0,1-1 0,0 0 0,-1 0 0,1-1 0,7-2 0,-11 1 0,0 1 0,0-1 0,0 1 0,-1-1 0,1-1 0,-1 1 0,0 0 0,0-1 0,0 1 0,0-1 0,0 0 0,-1 0 0,0 0 0,0 0 0,0-1 0,0 1 0,-1-1 0,1 1 0,-1-1 0,0 1 0,0-6 0,2-13 0,-1-1 0,-3-45 0,1 47 0,0 18 7,0 0-1,0 0 0,-1 1 0,1-1 1,-1 0-1,0 0 0,0 0 1,0 1-1,0-1 0,-1 0 1,1 1-1,-1-1 0,0 1 0,0 0 1,0 0-1,-1-1 0,1 2 1,-6-6-1,3 5-120,0 0 0,0 0-1,0 0 1,0 1 0,0 0 0,0 0-1,-1 1 1,1 0 0,-1 0 0,0 0-1,1 0 1,-9 1 0,-16-1-6712</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28.474"/>
    </inkml:context>
    <inkml:brush xml:id="br0">
      <inkml:brushProperty name="width" value="0.035" units="cm"/>
      <inkml:brushProperty name="height" value="0.035" units="cm"/>
      <inkml:brushProperty name="color" value="#E71224"/>
    </inkml:brush>
  </inkml:definitions>
  <inkml:trace contextRef="#ctx0" brushRef="#br0">3 373 24575,'0'-39'0,"-1"19"0,0 0 0,1 0 0,1 0 0,1 0 0,1 0 0,1 1 0,0-1 0,2 1 0,12-31 0,-12 39 0,1-1 0,0 1 0,0 1 0,1-1 0,0 1 0,13-11 0,-19 19 0,-1 0 0,1 1 0,0-1 0,0 1 0,0-1 0,0 1 0,0 0 0,0-1 0,0 1 0,0 0 0,1 1 0,-1-1 0,0 0 0,1 1 0,-1-1 0,0 1 0,1 0 0,-1 0 0,1 0 0,-1 0 0,0 0 0,1 0 0,-1 0 0,0 1 0,1 0 0,-1-1 0,0 1 0,1 0 0,-1 0 0,0 0 0,0 0 0,0 1 0,0-1 0,0 0 0,0 1 0,0-1 0,-1 1 0,1 0 0,0 0 0,-1 0 0,0 0 0,2 2 0,4 6 8,-1 0-1,-1 0 1,1 1 0,-2-1-1,0 1 1,0 1-1,-1-1 1,0 0-1,2 24 1,-2 6-287,-3 62-1,-1-59-602,1-22-5944</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29.225"/>
    </inkml:context>
    <inkml:brush xml:id="br0">
      <inkml:brushProperty name="width" value="0.035" units="cm"/>
      <inkml:brushProperty name="height" value="0.035" units="cm"/>
      <inkml:brushProperty name="color" value="#E71224"/>
    </inkml:brush>
  </inkml:definitions>
  <inkml:trace contextRef="#ctx0" brushRef="#br0">0 1 24575,'5'0'0,"5"0"0,6 0 0,10 0 0,8 0 0,8 0 0,2 0 0,-3 0 0,-8 0-8191</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31.133"/>
    </inkml:context>
    <inkml:brush xml:id="br0">
      <inkml:brushProperty name="width" value="0.035" units="cm"/>
      <inkml:brushProperty name="height" value="0.035" units="cm"/>
      <inkml:brushProperty name="color" value="#E71224"/>
    </inkml:brush>
  </inkml:definitions>
  <inkml:trace contextRef="#ctx0" brushRef="#br0">3 357 24575,'-1'-64'0,"-1"21"0,6-55 0,-3 87 0,0-1 0,1 0 0,1 1 0,0-1 0,1 1 0,0 0 0,1 0 0,0 0 0,9-13 0,-13 22 0,0 0 0,0 0 0,0 0 0,0 1 0,1-1 0,-1 1 0,1-1 0,-1 1 0,1-1 0,0 1 0,0 0 0,-1 0 0,1 0 0,0 0 0,0 0 0,0 0 0,0 0 0,3 0 0,-3 1 0,-1 0 0,1 0 0,-1 1 0,1-1 0,-1 0 0,1 1 0,-1-1 0,0 1 0,1 0 0,-1-1 0,0 1 0,1 0 0,-1 0 0,0 0 0,0 0 0,0 0 0,1 0 0,-1 0 0,1 2 0,5 8 0,0 0 0,-1 0 0,0 1 0,7 23 0,-5-16 0,1 3 0,1 0 0,2 0 0,0-1 0,1-1 0,0 0 0,2-1 0,1-1 0,0 0 0,26 21 0,-41-37 0,0-1 0,0 0 0,1 0 0,-1 0 0,0-1 0,1 1 0,-1 0 0,0 0 0,1-1 0,-1 1 0,1-1 0,-1 1 0,1-1 0,-1 0 0,1 0 0,0 1 0,-1-1 0,1 0 0,-1 0 0,1-1 0,-1 1 0,1 0 0,0 0 0,-1-1 0,3 0 0,-2-1 0,-1 1 0,1-1 0,0 1 0,-1-1 0,1 0 0,-1 0 0,0 0 0,0 0 0,0 0 0,0 0 0,0 0 0,0 0 0,0-1 0,-1 1 0,2-3 0,0-13 0,1 0 0,-2 0 0,-1-27 0,0 37 0,-3-104-1365,3 89-5461</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32.870"/>
    </inkml:context>
    <inkml:brush xml:id="br0">
      <inkml:brushProperty name="width" value="0.035" units="cm"/>
      <inkml:brushProperty name="height" value="0.035" units="cm"/>
      <inkml:brushProperty name="color" value="#E71224"/>
    </inkml:brush>
  </inkml:definitions>
  <inkml:trace contextRef="#ctx0" brushRef="#br0">0 1 24575,'2'24'0,"1"0"0,1-1 0,13 46 0,-5-25 0,-10-35 0,0-1 0,0 0 0,1 0 0,0 0 0,0 0 0,1 0 0,0-1 0,1 1 0,-1-1 0,2-1 0,-1 1 0,0 0 0,1-1 0,1 0 0,-1-1 0,1 1 0,-1-1 0,2-1 0,-1 1 0,0-1 0,1 0 0,0-1 0,0 0 0,0 0 0,0-1 0,0 0 0,1 0 0,-1-1 0,0 0 0,17 0 0,1-1-1365,-3 0-5461</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33.967"/>
    </inkml:context>
    <inkml:brush xml:id="br0">
      <inkml:brushProperty name="width" value="0.035" units="cm"/>
      <inkml:brushProperty name="height" value="0.035" units="cm"/>
      <inkml:brushProperty name="color" value="#E71224"/>
    </inkml:brush>
  </inkml:definitions>
  <inkml:trace contextRef="#ctx0" brushRef="#br0">0 1 24575,'5'0'0,"5"0"0,11 0 0,6 0 0,3 0 0,0 0 0,-4 0-8191</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34.837"/>
    </inkml:context>
    <inkml:brush xml:id="br0">
      <inkml:brushProperty name="width" value="0.035" units="cm"/>
      <inkml:brushProperty name="height" value="0.035" units="cm"/>
      <inkml:brushProperty name="color" value="#E71224"/>
    </inkml:brush>
  </inkml:definitions>
  <inkml:trace contextRef="#ctx0" brushRef="#br0">0 12 24575,'5'0'0,"5"0"0,6 0 0,5 0 0,3 0 0,2 0 0,1 0 0,-4-5 0,-5-1-8191</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37.871"/>
    </inkml:context>
    <inkml:brush xml:id="br0">
      <inkml:brushProperty name="width" value="0.035" units="cm"/>
      <inkml:brushProperty name="height" value="0.035" units="cm"/>
      <inkml:brushProperty name="color" value="#E71224"/>
    </inkml:brush>
  </inkml:definitions>
  <inkml:trace contextRef="#ctx0" brushRef="#br0">459 1 24575,'1'141'0,"19"144"0,-14-229 0,-3 1 0,-2 0 0,-6 62 0,-1-98 0,-1-30 0,-4-32 0,1-11 0,3 21 0,2 0 0,-2-40 0,7 67 0,0 0 0,0 0 0,0 0 0,-1 0 0,1 0 0,-1 1 0,0-1 0,0 0 0,-1 0 0,1 1 0,-1-1 0,1 0 0,-1 1 0,-3-4 0,2 5 0,1 0 0,-1-1 0,0 1 0,0 1 0,0-1 0,0 0 0,0 1 0,0-1 0,0 1 0,-1 0 0,1 0 0,0 1 0,-1-1 0,1 1 0,-1-1 0,-5 1 0,-30-1 0,0 1 0,-41 6 0,63-4 0,0 0 0,0 2 0,0 0 0,1 1 0,0 0 0,0 2 0,-18 9 0,30-14 0,1 1 0,-1-1 0,1 1 0,0 0 0,0 0 0,0 0 0,0 1 0,1-1 0,-1 1 0,1-1 0,0 1 0,-1 0 0,2 0 0,-1 0 0,0 0 0,1 0 0,0 0 0,0 0 0,0 1 0,1-1 0,-1 0 0,1 1 0,0-1 0,0 0 0,1 1 0,1 6 0,-1-4 0,1 0 0,0 0 0,0 0 0,0 0 0,1 0 0,0-1 0,1 1 0,0-1 0,0 0 0,0 0 0,0 0 0,1-1 0,0 1 0,0-1 0,7 4 0,0 0 11,0-1 0,1-1 0,0 0 0,0-1 0,0 0 0,1-1-1,0 0 1,0-1 0,1-1 0,20 2 0,-24-4-104,-1-1 0,1 0 1,-1 0-1,1-1 0,-1-1 0,0 1 0,0-2 0,0 1 1,0-2-1,0 1 0,0-1 0,-1-1 0,0 0 1,0 0-1,13-10 0,-7 2-6733</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29.441"/>
    </inkml:context>
    <inkml:brush xml:id="br0">
      <inkml:brushProperty name="width" value="0.035" units="cm"/>
      <inkml:brushProperty name="height" value="0.035" units="cm"/>
      <inkml:brushProperty name="color" value="#E71224"/>
    </inkml:brush>
  </inkml:definitions>
  <inkml:trace contextRef="#ctx0" brushRef="#br0">0 4 24575,'41'-2'0,"-28"1"0,1 1 0,-1-1 0,1 2 0,-1 0 0,26 6 0,-38-7 0,1 0 0,-1 1 0,1 0 0,-1-1 0,1 1 0,-1 0 0,1 0 0,-1-1 0,0 1 0,0 0 0,1 1 0,-1-1 0,0 0 0,0 0 0,0 0 0,0 1 0,0-1 0,-1 0 0,1 1 0,0-1 0,0 1 0,-1-1 0,1 1 0,-1-1 0,0 1 0,1-1 0,-1 1 0,0 0 0,0-1 0,0 1 0,0-1 0,0 1 0,-1 2 0,-1 6 0,0 0 0,-1-1 0,-1 1 0,-7 14 0,-6 22 0,14-31 0,-1 0 0,0 0 0,-1 0 0,-1 0 0,0-1 0,-1 0 0,-11 16 0,-1 4 0,18-33 0,1-1 0,0 1 0,-1 0 0,1 0 0,0 0 0,-1 0 0,1-1 0,0 1 0,0 0 0,0 0 0,0 0 0,0 0 0,0 0 0,0 0 0,0 0 0,0-1 0,0 1 0,0 0 0,1 0 0,-1 0 0,0 0 0,1 0 0,-1-1 0,0 1 0,1 0 0,-1 0 0,1-1 0,0 1 0,-1 0 0,1-1 0,-1 1 0,1 0 0,0-1 0,-1 1 0,1-1 0,0 1 0,0-1 0,0 0 0,-1 1 0,1-1 0,0 0 0,0 1 0,0-1 0,0 0 0,0 0 0,-1 0 0,1 0 0,0 0 0,0 0 0,2 0 0,55 2 0,-49-3 0,128-1-1365,-117 2-5461</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40.321"/>
    </inkml:context>
    <inkml:brush xml:id="br0">
      <inkml:brushProperty name="width" value="0.035" units="cm"/>
      <inkml:brushProperty name="height" value="0.035" units="cm"/>
      <inkml:brushProperty name="color" value="#E71224"/>
    </inkml:brush>
  </inkml:definitions>
  <inkml:trace contextRef="#ctx0" brushRef="#br0">0 1 24575,'0'112'0,"24"195"0,-19-288 0,0-1 0,14 34 0,6 22 0,10 54 0,-49-168 0,2 0 0,2 0 0,1-1 0,2 0 0,3-1 0,-1-67 0,6 105 0,-1 1 0,1 0 0,0-1 0,0 1 0,0 0 0,0 0 0,1 0 0,-1 0 0,1 0 0,-1 0 0,1 0 0,0 0 0,1 0 0,-1 1 0,0-1 0,1 1 0,-1 0 0,1 0 0,0 0 0,0 0 0,-1 0 0,1 1 0,1-1 0,-1 1 0,0-1 0,0 1 0,0 0 0,1 1 0,-1-1 0,6 0 0,13-2 0,0 1 0,0 1 0,38 3 0,-29-1 0,-1-1 0,-3 0 0,1 0 0,0 2 0,51 10 0,-71-10 0,-1 0 0,0 1 0,0-1 0,-1 1 0,1 0 0,-1 1 0,1 0 0,-1 0 0,0 0 0,0 1 0,-1-1 0,0 1 0,1 1 0,-2-1 0,1 1 0,-1 0 0,1 0 0,-2 0 0,7 13 0,23 81 107,-24-67-843,19 44 0,-20-62-6090</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42.290"/>
    </inkml:context>
    <inkml:brush xml:id="br0">
      <inkml:brushProperty name="width" value="0.035" units="cm"/>
      <inkml:brushProperty name="height" value="0.035" units="cm"/>
      <inkml:brushProperty name="color" value="#E71224"/>
    </inkml:brush>
  </inkml:definitions>
  <inkml:trace contextRef="#ctx0" brushRef="#br0">57 102 24575,'-1'0'0,"0"1"0,-1 0 0,1-1 0,0 1 0,-1 0 0,1 0 0,0 0 0,0 0 0,0 0 0,0 1 0,0-1 0,0 0 0,0 0 0,0 1 0,1-1 0,-1 0 0,0 1 0,1-1 0,-1 1 0,0 1 0,-12 37 0,12-34 0,-6 23 0,1 0 0,2 1 0,1-1 0,2 1 0,1 0 0,4 41 0,-3-68 0,-1-1 0,1 1 0,-1 0 0,1-1 0,0 1 0,0-1 0,0 1 0,0-1 0,1 1 0,-1-1 0,1 0 0,-1 0 0,1 0 0,0 0 0,0 0 0,0 0 0,0 0 0,0 0 0,0-1 0,1 1 0,-1-1 0,0 0 0,1 0 0,-1 0 0,1 0 0,-1 0 0,1 0 0,0 0 0,-1-1 0,4 1 0,10 1 0,0-1 0,0-1 0,0 0 0,17-3 0,-4 1 0,-23 2 0,-1 0 0,0 0 0,0-1 0,1 0 0,-1 0 0,0 0 0,0 0 0,0-1 0,0 0 0,0 0 0,-1-1 0,7-3 0,-7 3 0,-1 0 0,0-1 0,0 0 0,0 0 0,-1 1 0,1-2 0,-1 1 0,0 0 0,0 0 0,0-1 0,0 1 0,-1-1 0,2-8 0,68-262 0,-70 271 0,0 1 0,0-1 0,0 0 0,-1 1 0,1-1 0,-1 0 0,0 0 0,0 1 0,0-1 0,-1 0 0,1 1 0,-1-1 0,0 0 0,0 1 0,0-1 0,-1 1 0,1-1 0,-4-5 0,1 5 0,1 1 0,-1-1 0,0 1 0,0 0 0,0 0 0,0 1 0,0-1 0,-1 1 0,1 0 0,-1 0 0,1 0 0,-1 1 0,0 0 0,-5-1 0,4 1 0,0 0 0,0 1 0,0 0 0,0 0 0,0 1 0,0 0 0,0 0 0,0 0 0,0 0 0,1 1 0,-1 0 0,0 1 0,1-1 0,0 1 0,-1 0 0,1 0 0,0 1 0,1-1 0,-1 1 0,0 0 0,1 0 0,-7 9 0,4-4 0,-1 0 0,1 1 0,1 0 0,-1 0 0,2 1 0,0 0 0,0 0 0,1 0 0,0 0 0,-4 21 0,8-15-1365,3-3-5461</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44.868"/>
    </inkml:context>
    <inkml:brush xml:id="br0">
      <inkml:brushProperty name="width" value="0.035" units="cm"/>
      <inkml:brushProperty name="height" value="0.035" units="cm"/>
      <inkml:brushProperty name="color" value="#E71224"/>
    </inkml:brush>
  </inkml:definitions>
  <inkml:trace contextRef="#ctx0" brushRef="#br0">0 1 24575,'2'21'0,"0"1"0,8 33 0,3 30 0,-13-70 0,1 0 0,0 0 0,2 0 0,0 0 0,6 21 0,-7-32 0,0 0 0,0 1 0,1-1 0,0 0 0,-1 0 0,1-1 0,1 1 0,-1 0 0,0-1 0,1 0 0,0 0 0,-1 0 0,1 0 0,1-1 0,-1 1 0,0-1 0,0 0 0,1 0 0,-1-1 0,1 1 0,5 0 0,0 1 0,-1-1 0,1-1 0,0 1 0,0-1 0,-1-1 0,16-1 0,-22 1 0,0 0 0,0-1 0,0 0 0,-1 0 0,1 0 0,0 0 0,0 0 0,-1 0 0,1-1 0,-1 1 0,1-1 0,-1 0 0,0 0 0,1 0 0,-1 0 0,0 0 0,0 0 0,0-1 0,-1 1 0,1-1 0,-1 1 0,1-1 0,-1 1 0,0-1 0,2-4 0,8-28 0,0-1 0,-2 0 0,-2 0 0,-1-1 0,-2 0 0,-1-58 0,-4 91-8,1 12-1349,0 8-5469</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47.496"/>
    </inkml:context>
    <inkml:brush xml:id="br0">
      <inkml:brushProperty name="width" value="0.035" units="cm"/>
      <inkml:brushProperty name="height" value="0.035" units="cm"/>
      <inkml:brushProperty name="color" value="#E71224"/>
    </inkml:brush>
  </inkml:definitions>
  <inkml:trace contextRef="#ctx0" brushRef="#br0">1 101 24575,'-1'46'0,"2"1"0,2-1 0,2 0 0,22 89 0,-10-66 0,-31-159 0,8 57 0,2 0 0,0 0 0,3-1 0,2-34 0,-1 57 0,1 1 0,0 0 0,1 0 0,0 0 0,0 0 0,1 0 0,0 0 0,1 0 0,0 1 0,1 0 0,0 0 0,0 0 0,1 1 0,0-1 0,1 1 0,0 1 0,10-10 0,-13 14 0,-1 0 0,1 1 0,-1 0 0,1 0 0,0 0 0,0 0 0,0 1 0,0-1 0,0 1 0,0 0 0,0 1 0,1-1 0,-1 0 0,0 1 0,0 0 0,1 0 0,-1 1 0,0-1 0,6 2 0,-7-1 0,0 1 0,0-1 0,0 0 0,0 1 0,0 0 0,-1 0 0,1 0 0,0 0 0,-1 0 0,0 1 0,0-1 0,1 0 0,-2 1 0,1 0 0,0 0 0,0-1 0,-1 1 0,1 0 0,-1 0 0,0 0 0,0 1 0,0-1 0,-1 0 0,1 0 0,0 6 0,0 3 0,-1 0 0,0 1 0,-1-1 0,0 0 0,-1-1 0,0 1 0,-1 0 0,0 0 0,-1-1 0,0 0 0,-1 0 0,0 0 0,-1 0 0,0-1 0,-1 0 0,0 0 0,-8 8 0,13-15 5,-1 0-1,2 0 1,-1 0-1,0 0 0,1 1 1,-1-1-1,1 0 1,0 1-1,0-1 1,0 1-1,1-1 0,-1 1 1,1-1-1,0 1 1,0-1-1,0 1 1,0-1-1,1 1 1,-1-1-1,1 1 0,0-1 1,0 1-1,0-1 1,1 0-1,-1 1 1,4 4-1,4 8-375,0-1-1,1 0 1,23 26 0,-18-24-6455</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7:49.932"/>
    </inkml:context>
    <inkml:brush xml:id="br0">
      <inkml:brushProperty name="width" value="0.035" units="cm"/>
      <inkml:brushProperty name="height" value="0.035" units="cm"/>
      <inkml:brushProperty name="color" value="#E71224"/>
    </inkml:brush>
  </inkml:definitions>
  <inkml:trace contextRef="#ctx0" brushRef="#br0">419 111 24575,'-7'-5'0,"0"0"0,-1 1 0,0 0 0,0 0 0,0 1 0,0 0 0,0 1 0,-1 0 0,-14-2 0,-12-4 0,-147-56 0,180 63 0,-1 0 0,1 1 0,0 0 0,-1-1 0,1 1 0,-1 0 0,1 0 0,-1 1 0,1-1 0,-1 0 0,1 1 0,0 0 0,-1-1 0,1 1 0,0 0 0,0 0 0,-1 0 0,1 0 0,0 1 0,0-1 0,0 1 0,0-1 0,1 1 0,-1 0 0,0-1 0,1 1 0,-1 0 0,1 0 0,-1 0 0,1 0 0,0 1 0,0-1 0,0 0 0,0 0 0,0 4 0,-6 12 0,2-1 0,0 1 0,-3 31 0,4-27 0,3-18 0,-1 7 0,0 0 0,0 0 0,1 0 0,1 0 0,0 13 0,0-21 0,1 0 0,0 0 0,-1 0 0,1 0 0,0 0 0,1 0 0,-1 0 0,0 0 0,1-1 0,-1 1 0,1 0 0,0-1 0,0 0 0,0 1 0,0-1 0,1 0 0,-1 0 0,1 0 0,-1 0 0,1 0 0,-1-1 0,1 1 0,4 0 0,52 22 0,86 20 0,-95-31 0,1 3 0,84 38 0,-129-51 0,-1 1 0,1-1 0,-1 1 0,0 0 0,0 0 0,-1 1 0,1 0 0,-1-1 0,0 1 0,-1 1 0,1-1 0,-1 0 0,0 1 0,0 0 0,0 0 0,1 7 0,-3-11 0,-1 1 0,1 0 0,-1 0 0,0 0 0,1-1 0,-1 1 0,-1 0 0,1 0 0,0 0 0,-1-1 0,1 1 0,-1 0 0,0 0 0,0-1 0,0 1 0,0-1 0,-1 1 0,1-1 0,-1 1 0,1-1 0,-1 0 0,0 1 0,0-1 0,0 0 0,0-1 0,0 1 0,0 0 0,-1 0 0,1-1 0,-1 1 0,1-1 0,-1 0 0,1 0 0,-1 0 0,0 0 0,1 0 0,-6 0 0,-14 4 14,0-1-1,0 0 0,-1-2 0,0 0 1,1-2-1,-1-1 0,0 0 1,-27-6-1,33 4-148,-1-1 0,1-1 0,0 0 0,0-2 0,1 0 0,-1 0 0,2-1 0,-1-1 0,1-1 0,-26-22 0,27 17-6691</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03.456"/>
    </inkml:context>
    <inkml:brush xml:id="br0">
      <inkml:brushProperty name="width" value="0.035" units="cm"/>
      <inkml:brushProperty name="height" value="0.035" units="cm"/>
      <inkml:brushProperty name="color" value="#E71224"/>
    </inkml:brush>
  </inkml:definitions>
  <inkml:trace contextRef="#ctx0" brushRef="#br0">26 1 24575,'-1'0'0,"0"0"0,0 1 0,0 0 0,0-1 0,-1 1 0,1-1 0,0 1 0,0 0 0,0 0 0,1 0 0,-1-1 0,0 1 0,0 0 0,0 0 0,1 0 0,-1 0 0,0 1 0,1-1 0,-1 0 0,1 0 0,-1 0 0,1 0 0,0 1 0,-1-1 0,1 0 0,0 0 0,0 2 0,-5 41 0,5-39 0,-1 50 0,3 0 0,17 104 0,-12-61-4,-6-77-191,0 0 1,1 0 0,0 0-1,2 0 1,1 0-1,13 36 1,-10-40-6632</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04.551"/>
    </inkml:context>
    <inkml:brush xml:id="br0">
      <inkml:brushProperty name="width" value="0.035" units="cm"/>
      <inkml:brushProperty name="height" value="0.035" units="cm"/>
      <inkml:brushProperty name="color" value="#E71224"/>
    </inkml:brush>
  </inkml:definitions>
  <inkml:trace contextRef="#ctx0" brushRef="#br0">0 1 24575,'996'0'-1365,"-941"0"-5461</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08.099"/>
    </inkml:context>
    <inkml:brush xml:id="br0">
      <inkml:brushProperty name="width" value="0.035" units="cm"/>
      <inkml:brushProperty name="height" value="0.035" units="cm"/>
      <inkml:brushProperty name="color" value="#E71224"/>
    </inkml:brush>
  </inkml:definitions>
  <inkml:trace contextRef="#ctx0" brushRef="#br0">56 172 24575,'-1'61'0,"2"70"0,0-116 0,1 0 0,0 0 0,1 0 0,1-1 0,0 1 0,9 17 0,-13-32 0,-1 1 0,1-1 0,1 0 0,-1 1 0,0-1 0,0 1 0,0-1 0,0 0 0,0 1 0,0-1 0,0 0 0,0 1 0,1-1 0,-1 1 0,0-1 0,0 0 0,0 1 0,1-1 0,-1 0 0,0 0 0,0 1 0,1-1 0,-1 0 0,0 0 0,1 1 0,-1-1 0,0 0 0,1 0 0,-1 0 0,0 0 0,1 1 0,-1-1 0,1 0 0,-1 0 0,0 0 0,1 0 0,-1 0 0,1 0 0,-1 0 0,0 0 0,1 0 0,-1 0 0,1 0 0,-1 0 0,0 0 0,1-1 0,7-21 0,-3-31 0,-6 46 0,0 0 0,-1 0 0,0 1 0,0-1 0,0 0 0,-1 1 0,0 0 0,0 0 0,0 0 0,-1 0 0,0 0 0,0 0 0,-1 1 0,0 0 0,-7-6 0,-18-23 0,27 29 0,0 1 0,1-1 0,-1 1 0,1-1 0,0 0 0,0 0 0,0 0 0,1 0 0,0-1 0,0 1 0,0 0 0,1 0 0,-1-1 0,1 1 0,1 0 0,-1-1 0,1 1 0,0 0 0,0 0 0,0-1 0,1 1 0,-1 0 0,1 0 0,1 1 0,-1-1 0,1 0 0,6-8 0,2-3 0,1 1 0,0 1 0,1-1 0,1 2 0,1 0 0,23-17 0,-37 29 0,1-1 0,-1 1 0,1 0 0,0-1 0,0 1 0,0 0 0,0 0 0,0 0 0,0 0 0,0 1 0,0-1 0,0 0 0,0 1 0,1-1 0,-1 1 0,0 0 0,0 0 0,0 0 0,1 0 0,-1 0 0,0 1 0,0-1 0,0 0 0,0 1 0,1 0 0,-1-1 0,0 1 0,0 0 0,0 0 0,0 0 0,-1 1 0,1-1 0,0 0 0,0 1 0,2 2 0,-1 1 0,1 0 0,-1 0 0,0 0 0,-1 1 0,1-1 0,-1 1 0,0 0 0,0-1 0,-1 1 0,0 0 0,0 0 0,0 8 0,0-1 0,2 80 0,-3-84 0,-1 0 0,0 0 0,0-1 0,-1 1 0,0 0 0,-1 0 0,0-1 0,-4 9 0,6-15 0,0 1 0,0-1 0,0 1 0,0 0 0,0 0 0,1-1 0,-1 1 0,1 0 0,0 0 0,0 0 0,0 0 0,0-1 0,0 1 0,1 0 0,0 0 0,-1 0 0,1-1 0,0 1 0,0 0 0,0-1 0,1 1 0,-1-1 0,0 1 0,1-1 0,0 0 0,0 0 0,2 3 0,8 7 0,0 0 0,1-2 0,24 17 0,-3-2 0,-2 5-1365,-21-16-5461</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09.837"/>
    </inkml:context>
    <inkml:brush xml:id="br0">
      <inkml:brushProperty name="width" value="0.035" units="cm"/>
      <inkml:brushProperty name="height" value="0.035" units="cm"/>
      <inkml:brushProperty name="color" value="#E71224"/>
    </inkml:brush>
  </inkml:definitions>
  <inkml:trace contextRef="#ctx0" brushRef="#br0">29 410 24575,'0'-9'0,"-2"0"0,1 1 0,-1-1 0,-5-12 0,-4-26 0,7 3 0,2 0 0,6-57 0,-4 95 0,1 0 0,1 0 0,-1 0 0,1 0 0,0 0 0,0 1 0,1-1 0,0 1 0,0 0 0,0-1 0,0 2 0,1-1 0,0 0 0,0 1 0,7-7 0,-7 8 0,-1 0 0,0 1 0,1 0 0,0-1 0,0 1 0,0 1 0,0-1 0,0 0 0,0 1 0,0 0 0,0 0 0,0 0 0,1 1 0,-1-1 0,0 1 0,1 0 0,-1 0 0,0 0 0,1 1 0,-1 0 0,7 1 0,-5 0 0,0 0 0,-1 0 0,1 0 0,0 1 0,-1 0 0,1 0 0,-1 0 0,0 1 0,0-1 0,0 1 0,-1 1 0,9 8 0,-10-8 0,0 1 0,0 0 0,-1 0 0,0 0 0,0 0 0,0 0 0,-1 1 0,1-1 0,-2 0 0,1 1 0,-1-1 0,0 10 0,-5 198-1365,5-191-5461</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10.697"/>
    </inkml:context>
    <inkml:brush xml:id="br0">
      <inkml:brushProperty name="width" value="0.035" units="cm"/>
      <inkml:brushProperty name="height" value="0.035" units="cm"/>
      <inkml:brushProperty name="color" value="#E71224"/>
    </inkml:brush>
  </inkml:definitions>
  <inkml:trace contextRef="#ctx0" brushRef="#br0">0 1 24575,'5'0'0,"10"0"0,7 0 0,4 0 0,3 0 0,4 0 0,3 0 0,-2 0 0,-6 0-819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3:31:42.104"/>
    </inkml:context>
    <inkml:brush xml:id="br0">
      <inkml:brushProperty name="width" value="0.035" units="cm"/>
      <inkml:brushProperty name="height" value="0.035" units="cm"/>
      <inkml:brushProperty name="color" value="#E71224"/>
    </inkml:brush>
  </inkml:definitions>
  <inkml:trace contextRef="#ctx0" brushRef="#br0">92 2 24575,'0'-1'0,"-1"1"0,1 0 0,-1 0 0,1 0 0,0 0 0,-1-1 0,1 1 0,-1 0 0,1 0 0,-1 0 0,1 0 0,-1 0 0,1 0 0,0 0 0,-1 0 0,1 0 0,-1 1 0,1-1 0,-1 0 0,1 0 0,0 0 0,-1 0 0,1 1 0,-1-1 0,1 0 0,0 0 0,-1 1 0,1-1 0,0 0 0,-1 1 0,1-1 0,0 0 0,-1 1 0,1-1 0,0 0 0,0 1 0,-1-1 0,1 1 0,0-1 0,0 0 0,0 1 0,0-1 0,0 1 0,0-1 0,0 1 0,-1-1 0,1 1 0,0-1 0,1 1 0,-1-1 0,0 0 0,0 1 0,0-1 0,0 1 0,0-1 0,0 1 0,1 0 0,13 17 0,-16-19 0,-8-7 0,7 6 0,0 0 0,0 0 0,-1 0 0,1 0 0,0 0 0,-1 1 0,0 0 0,1-1 0,-1 1 0,0 1 0,1-1 0,-1 1 0,0-1 0,0 1 0,1 0 0,-1 0 0,0 1 0,0-1 0,-6 2 0,10-1 2,0-1 1,-1 1-1,1-1 0,0 0 0,0 1 1,0-1-1,0 1 0,0-1 0,-1 0 0,1 1 1,0-1-1,0 1 0,0-1 0,0 1 1,0-1-1,1 0 0,-1 1 0,0-1 1,0 1-1,0-1 0,0 1 0,0-1 0,0 0 1,1 1-1,-1-1 0,0 0 0,0 1 1,1-1-1,-1 0 0,0 1 0,1-1 0,-1 0 1,0 1-1,1-1 0,-1 0 0,0 0 1,1 1-1,-1-1 0,0 0 0,1 0 0,-1 0 1,1 0-1,0 1 0,17 9-1465,-3-4-5363</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11.964"/>
    </inkml:context>
    <inkml:brush xml:id="br0">
      <inkml:brushProperty name="width" value="0.035" units="cm"/>
      <inkml:brushProperty name="height" value="0.035" units="cm"/>
      <inkml:brushProperty name="color" value="#E71224"/>
    </inkml:brush>
  </inkml:definitions>
  <inkml:trace contextRef="#ctx0" brushRef="#br0">0 1 24575,'0'4'0,"0"7"0,0 5 0,0 5 0,5 3 0,1 2 0,4 5 0,1 7 0,-2 2 0,-3 2 0,-1-1 0,-3-3 0,-1-4 0,-1-2 0,0-3 0,0-7-8191</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13.840"/>
    </inkml:context>
    <inkml:brush xml:id="br0">
      <inkml:brushProperty name="width" value="0.035" units="cm"/>
      <inkml:brushProperty name="height" value="0.035" units="cm"/>
      <inkml:brushProperty name="color" value="#E71224"/>
    </inkml:brush>
  </inkml:definitions>
  <inkml:trace contextRef="#ctx0" brushRef="#br0">27 1 24575,'-4'4'0,"-2"11"0,0 8 0,1 3 0,2 3 0,1 0 0,5-4 0,3-12 0,0-11 0,3-8 0,0-5 0,-1-7 0,3 0 0,-1-1 0,-2-2 0,-3-2 0,-1 3-8191</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17.106"/>
    </inkml:context>
    <inkml:brush xml:id="br0">
      <inkml:brushProperty name="width" value="0.035" units="cm"/>
      <inkml:brushProperty name="height" value="0.035" units="cm"/>
      <inkml:brushProperty name="color" value="#E71224"/>
    </inkml:brush>
  </inkml:definitions>
  <inkml:trace contextRef="#ctx0" brushRef="#br0">2 394 24575,'-2'-102'0,"5"-115"0,-3 216 0,0 0 0,0 0 0,0 0 0,0-1 0,0 1 0,0 0 0,0 0 0,0-1 0,1 1 0,-1 0 0,0 0 0,1 0 0,-1 0 0,1-1 0,-1 1 0,1 0 0,0 0 0,0 0 0,-1 0 0,1 0 0,0 0 0,0 1 0,0-1 0,0 0 0,0 0 0,0 1 0,2-2 0,-1 2 0,0 0 0,-1 0 0,1 1 0,0-1 0,0 1 0,-1-1 0,1 1 0,0-1 0,-1 1 0,1 0 0,-1 0 0,1 0 0,-1 0 0,1 0 0,-1 0 0,2 2 0,8 8 0,-1-1 0,-1 2 0,12 16 0,-2 1 0,-9-13 0,1 1 0,0-1 0,1-1 0,1 0 0,28 25 0,-28-28 0,-1 1 0,0 0 0,0 0 0,18 30 0,-20-27 0,1-1 0,0 0 0,25 24 0,-35-38 0,-1-1 0,1 1 0,-1-1 0,1 1 0,0-1 0,-1 1 0,1-1 0,-1 0 0,1 1 0,0-1 0,-1 0 0,1 1 0,0-1 0,0 0 0,-1 0 0,1 0 0,0 0 0,0 0 0,-1 0 0,1 0 0,0 0 0,-1 0 0,1 0 0,0 0 0,0 0 0,-1 0 0,1 0 0,1-1 0,11-18 0,0-42 0,-11 48 0,4-18 0,3-18 0,24-78 0,-28 109-227,0 1-1,-2 0 1,0-1-1,-1 0 1,0-21-1,-2 16-6598</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18.249"/>
    </inkml:context>
    <inkml:brush xml:id="br0">
      <inkml:brushProperty name="width" value="0.035" units="cm"/>
      <inkml:brushProperty name="height" value="0.035" units="cm"/>
      <inkml:brushProperty name="color" value="#E71224"/>
    </inkml:brush>
  </inkml:definitions>
  <inkml:trace contextRef="#ctx0" brushRef="#br0">0 1 24575,'3'39'0,"1"0"0,3 0 0,0-1 0,16 45 0,15 77 0,-38-155 0,1 1 0,0-1 0,0 0 0,1 1 0,-1-1 0,1 0 0,0 0 0,4 6 0,-2-10-1365</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19.718"/>
    </inkml:context>
    <inkml:brush xml:id="br0">
      <inkml:brushProperty name="width" value="0.035" units="cm"/>
      <inkml:brushProperty name="height" value="0.035" units="cm"/>
      <inkml:brushProperty name="color" value="#E71224"/>
    </inkml:brush>
  </inkml:definitions>
  <inkml:trace contextRef="#ctx0" brushRef="#br0">111 1 24575,'-4'0'0,"-2"4"0,0 7 0,2 5 0,1 5 0,1 3 0,-4-7 0,-1-11 0,-3-10 0,0-10 0,-3-3 0,0-2 0,-1 2 0,1 4-8191</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22.691"/>
    </inkml:context>
    <inkml:brush xml:id="br0">
      <inkml:brushProperty name="width" value="0.035" units="cm"/>
      <inkml:brushProperty name="height" value="0.035" units="cm"/>
      <inkml:brushProperty name="color" value="#E71224"/>
    </inkml:brush>
  </inkml:definitions>
  <inkml:trace contextRef="#ctx0" brushRef="#br0">19 390 24575,'1'-63'0,"0"22"0,-1 1 0,-2-1 0,-14-78 0,15 117 0,1 0 0,-1-1 0,1 1 0,-1 0 0,1-1 0,0 1 0,0 0 0,0-1 0,0 1 0,1 0 0,-1-1 0,2-2 0,-2 4 0,0 0 0,1 1 0,-1-1 0,0 0 0,1 1 0,-1-1 0,1 1 0,-1-1 0,1 1 0,0-1 0,-1 1 0,1-1 0,-1 1 0,1-1 0,0 1 0,-1 0 0,1-1 0,0 1 0,0 0 0,-1 0 0,1-1 0,0 1 0,-1 0 0,1 0 0,1 0 0,2 1 0,-1-1 0,1 1 0,-1 0 0,0 0 0,1 0 0,-1 1 0,0-1 0,1 1 0,-1 0 0,0 0 0,0 0 0,0 0 0,-1 0 0,4 4 0,35 38 0,-3 1 0,57 88 0,-73-100 0,-19-29 0,0 0 0,0 0 0,1 0 0,-1 0 0,1 0 0,0-1 0,0 1 0,0-1 0,0 0 0,1 0 0,-1-1 0,9 4 0,-11-5 0,0-1 0,-1 0 0,1 1 0,0-1 0,0 0 0,0 0 0,0 0 0,0 0 0,0-1 0,0 1 0,0-1 0,0 1 0,0-1 0,0 1 0,0-1 0,0 0 0,-1 0 0,1 0 0,0 0 0,-1 0 0,1 0 0,-1-1 0,1 1 0,-1-1 0,1 1 0,-1-1 0,0 1 0,0-1 0,0 0 0,0 1 0,0-1 0,0 0 0,0 0 0,0-2 0,6-12 13,-1 0-1,0-1 0,-2 1 0,0-1 1,0 0-1,0-19 0,-1-105-717,-4 106-41,1 8-6080</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25.177"/>
    </inkml:context>
    <inkml:brush xml:id="br0">
      <inkml:brushProperty name="width" value="0.035" units="cm"/>
      <inkml:brushProperty name="height" value="0.035" units="cm"/>
      <inkml:brushProperty name="color" value="#E71224"/>
    </inkml:brush>
  </inkml:definitions>
  <inkml:trace contextRef="#ctx0" brushRef="#br0">344 1 24575,'-22'-1'0,"0"2"0,0 0 0,0 2 0,0 0 0,0 1 0,1 2 0,-26 9 0,40-12 0,-1 1 0,1-1 0,0 2 0,0-1 0,0 1 0,1 0 0,0 1 0,0-1 0,0 1 0,0 0 0,1 1 0,0-1 0,1 1 0,-1 0 0,1 0 0,1 1 0,-1-1 0,1 1 0,0 0 0,1 0 0,0 0 0,-1 11 0,-9 35 0,8-36 0,0-1 0,1 0 0,1 1 0,0-1 0,1 25 0,2-38 0,-1 0 0,1 0 0,0 0 0,0 0 0,0-1 0,1 1 0,-1 0 0,1 0 0,0-1 0,0 1 0,0-1 0,0 1 0,1-1 0,-1 0 0,1 0 0,0 0 0,0 0 0,0-1 0,0 1 0,1-1 0,-1 0 0,1 0 0,-1 0 0,1 0 0,0 0 0,0-1 0,7 2 0,48 16 0,-25-8 0,42 9 0,-65-18 0,0-1 0,0 0 0,0 0 0,0-1 0,-1-1 0,1 0 0,0 0 0,14-4 0,-19 3 0,-1 0 0,1 0 0,-1-1 0,0 1 0,0-1 0,0 0 0,0-1 0,-1 1 0,1-1 0,-1 0 0,0 0 0,5-8 0,-7 11 0,-1-1 0,0 1 0,0-1 0,-1 1 0,1-1 0,0 1 0,0-1 0,-1 0 0,1 0 0,-1 1 0,1-1 0,-1 0 0,0 0 0,0 1 0,0-1 0,0 0 0,0 0 0,0 0 0,0 1 0,-1-1 0,1 0 0,0 0 0,-1 1 0,0-1 0,1 0 0,-1 1 0,0-1 0,0 1 0,0-1 0,0 1 0,0-1 0,0 1 0,0 0 0,-1-1 0,1 1 0,0 0 0,-1 0 0,1 0 0,-1 0 0,1 0 0,-1 0 0,-3-1 0,-9-5-227,0 1-1,-1 0 1,0 0-1,0 2 1,-21-4-1,11 4-6598</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32.154"/>
    </inkml:context>
    <inkml:brush xml:id="br0">
      <inkml:brushProperty name="width" value="0.035" units="cm"/>
      <inkml:brushProperty name="height" value="0.035" units="cm"/>
      <inkml:brushProperty name="color" value="#E71224"/>
    </inkml:brush>
  </inkml:definitions>
  <inkml:trace contextRef="#ctx0" brushRef="#br0">0 1 24575,'4'6'0,"0"1"0,-1-1 0,0 1 0,0 0 0,-1 0 0,1 0 0,-2 0 0,1 1 0,-1-1 0,0 1 0,-1-1 0,0 14 0,5 27 0,17 126 0,-21-155 0,5 18 0,0-1 0,22 63 0,-17-64 0,-1 2 0,7 51 0,-20-350 0,5 134 0,-2 125 0,0 0 0,0-1 0,0 1 0,0 0 0,1-1 0,-1 1 0,1 0 0,0-1 0,0 1 0,0 0 0,0 0 0,0 0 0,1 0 0,0 0 0,-1 0 0,1 0 0,0 1 0,1-1 0,-1 1 0,5-5 0,-4 6 0,0-1 0,1 1 0,-1-1 0,1 1 0,0 0 0,-1 1 0,1-1 0,0 1 0,0-1 0,0 1 0,-1 0 0,1 1 0,0-1 0,0 1 0,-1-1 0,1 1 0,0 0 0,5 3 0,2 0 0,0 1 0,-1 0 0,0 0 0,0 1 0,0 1 0,-1-1 0,1 2 0,-2-1 0,9 10 0,-11-11 0,0 0 0,0 1 0,-1 0 0,0 0 0,-1 0 0,0 1 0,0 0 0,0-1 0,-1 1 0,0 1 0,0-1 0,2 16 0,20 158 0,-24-176-136,0 0-1,0-1 1,0 1-1,1-1 1,0 1-1,0-1 1,0 0-1,1 0 0,3 5 1,5 3-6690</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34.374"/>
    </inkml:context>
    <inkml:brush xml:id="br0">
      <inkml:brushProperty name="width" value="0.035" units="cm"/>
      <inkml:brushProperty name="height" value="0.035" units="cm"/>
      <inkml:brushProperty name="color" value="#E71224"/>
    </inkml:brush>
  </inkml:definitions>
  <inkml:trace contextRef="#ctx0" brushRef="#br0">83 123 24575,'-3'0'0,"-1"1"0,0 0 0,1 0 0,-1 1 0,1-1 0,-1 1 0,1-1 0,0 1 0,0 0 0,-1 1 0,1-1 0,1 0 0,-1 1 0,0 0 0,1-1 0,-1 1 0,1 0 0,0 0 0,0 1 0,0-1 0,0 0 0,1 1 0,-1-1 0,1 1 0,0-1 0,-1 6 0,-1-1 0,1-1 0,0 1 0,1 0 0,-1-1 0,2 1 0,-1 0 0,1 0 0,0-1 0,1 1 0,-1 0 0,2 0 0,1 7 0,-1-10 0,0-1 0,1 0 0,0 0 0,-1-1 0,1 1 0,1-1 0,-1 1 0,0-1 0,1 0 0,0 0 0,-1 0 0,1-1 0,0 1 0,1-1 0,-1 0 0,0 0 0,1-1 0,-1 1 0,1-1 0,-1 0 0,8 1 0,-3-1 0,-1 0 0,1 0 0,0-1 0,0 0 0,0 0 0,0-1 0,-1 0 0,1-1 0,0 0 0,13-5 0,-19 4 0,1 1 0,0-1 0,-1 0 0,0 0 0,1-1 0,-1 1 0,-1-1 0,1 1 0,0-1 0,-1 0 0,0 0 0,0 0 0,0 0 0,0-1 0,-1 1 0,1 0 0,0-8 0,4-13 0,3-44 0,-8 62 0,1-9 0,0 2 0,0 1 0,-1-1 0,0 1 0,-1-1 0,-1 1 0,0-1 0,-1 1 0,-4-20 0,5 31 0,-1 1 0,1-1 0,0 1 0,0-1 0,-1 1 0,1 0 0,-1 0 0,1 0 0,-1-1 0,1 1 0,-1 1 0,0-1 0,1 0 0,-1 0 0,0 1 0,0-1 0,0 1 0,1-1 0,-1 1 0,0 0 0,0 0 0,0 0 0,0 0 0,0 0 0,0 0 0,1 0 0,-1 1 0,0-1 0,0 0 0,0 1 0,0 0 0,1 0 0,-1-1 0,-2 3 0,-1-1 0,0 0 0,1 0 0,-1 1 0,1-1 0,-1 1 0,1 0 0,0 1 0,0-1 0,0 1 0,1 0 0,-6 6 0,-16 49-1365,18-42-5461</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22T16:48:36.652"/>
    </inkml:context>
    <inkml:brush xml:id="br0">
      <inkml:brushProperty name="width" value="0.035" units="cm"/>
      <inkml:brushProperty name="height" value="0.035" units="cm"/>
      <inkml:brushProperty name="color" value="#E71224"/>
    </inkml:brush>
  </inkml:definitions>
  <inkml:trace contextRef="#ctx0" brushRef="#br0">24 69 24575,'-1'31'0,"-2"1"0,-7 35 0,4-33 0,5-28 0,0 0 0,0 1 0,1-1 0,0 1 0,0 0 0,0-1 0,1 1 0,0-1 0,0 0 0,1 1 0,0-1 0,0 0 0,0 0 0,1 0 0,6 11 0,-6-13 0,0-1 0,1 1 0,-1-1 0,1 1 0,0-1 0,0 0 0,0 0 0,1-1 0,-1 0 0,0 1 0,1-1 0,0-1 0,-1 1 0,1-1 0,0 1 0,0-2 0,0 1 0,0 0 0,0-1 0,0 0 0,7-1 0,-9 1 0,0 0 0,0 0 0,0-1 0,0 0 0,0 1 0,0-1 0,0 0 0,-1-1 0,1 1 0,0 0 0,-1-1 0,1 0 0,-1 1 0,1-1 0,-1 0 0,0 0 0,1 0 0,-1-1 0,-1 1 0,1 0 0,3-6 0,1-3 0,-1-1 0,0 0 0,0 0 0,2-14 0,-4 16 0,0 0 0,0 0 0,1 0 0,0 0 0,9-13 0,-8 16 0,1 0 0,-1 0 0,-1-1 0,0 0 0,0 0 0,0 0 0,-1 0 0,0 0 0,0-1 0,-1 1 0,-1-1 0,1 0 0,-1 1 0,0-17 0,-2-43 0,20 101 0,20 107 0,-10-31 0,-13-40-1365,-14-58-54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7311"/>
          </a:xfrm>
          <a:prstGeom prst="rect">
            <a:avLst/>
          </a:prstGeom>
        </p:spPr>
        <p:txBody>
          <a:bodyPr vert="horz" lIns="91440" tIns="45720" rIns="91440" bIns="45720" rtlCol="0"/>
          <a:lstStyle>
            <a:lvl1pPr algn="r">
              <a:defRPr sz="1200"/>
            </a:lvl1pPr>
          </a:lstStyle>
          <a:p>
            <a:fld id="{3B2602E4-816E-4540-8158-C67E60E8F3D4}" type="datetimeFigureOut">
              <a:rPr lang="en-US" smtClean="0"/>
              <a:t>9/24/2024</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2296"/>
            <a:ext cx="5486400" cy="36673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4"/>
            <a:ext cx="2971800" cy="467310"/>
          </a:xfrm>
          <a:prstGeom prst="rect">
            <a:avLst/>
          </a:prstGeom>
        </p:spPr>
        <p:txBody>
          <a:bodyPr vert="horz" lIns="91440" tIns="45720" rIns="91440" bIns="45720" rtlCol="0" anchor="b"/>
          <a:lstStyle>
            <a:lvl1pPr algn="r">
              <a:defRPr sz="1200"/>
            </a:lvl1pPr>
          </a:lstStyle>
          <a:p>
            <a:fld id="{8A667B83-9D63-4A5C-B152-BD1A34D0F3BB}" type="slidenum">
              <a:rPr lang="en-US" smtClean="0"/>
              <a:t>‹#›</a:t>
            </a:fld>
            <a:endParaRPr lang="en-US"/>
          </a:p>
        </p:txBody>
      </p:sp>
    </p:spTree>
    <p:extLst>
      <p:ext uri="{BB962C8B-B14F-4D97-AF65-F5344CB8AC3E}">
        <p14:creationId xmlns:p14="http://schemas.microsoft.com/office/powerpoint/2010/main" val="30066290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8286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2"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dirty="0">
              <a:solidFill>
                <a:prstClr val="white"/>
              </a:solidFill>
              <a:sym typeface="Rockwell" panose="02060603020205020403" pitchFamily="18" charset="0"/>
            </a:endParaRPr>
          </a:p>
        </p:txBody>
      </p:sp>
      <p:sp>
        <p:nvSpPr>
          <p:cNvPr id="28" name="Focus Frame 2"/>
          <p:cNvSpPr>
            <a:spLocks noChangeAspect="1"/>
          </p:cNvSpPr>
          <p:nvPr/>
        </p:nvSpPr>
        <p:spPr bwMode="gray">
          <a:xfrm>
            <a:off x="7998863"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29" name="Focus Frame 2"/>
          <p:cNvSpPr>
            <a:spLocks noChangeAspect="1"/>
          </p:cNvSpPr>
          <p:nvPr/>
        </p:nvSpPr>
        <p:spPr bwMode="gray">
          <a:xfrm>
            <a:off x="1588461"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4"/>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8" y="1025529"/>
            <a:ext cx="5989649" cy="2085975"/>
          </a:xfrm>
        </p:spPr>
        <p:txBody>
          <a:bodyPr>
            <a:normAutofit/>
          </a:bodyPr>
          <a:lstStyle>
            <a:lvl1pPr marL="0" indent="0">
              <a:buNone/>
              <a:defRPr sz="3999"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6" y="3263900"/>
            <a:ext cx="5989609" cy="1244600"/>
          </a:xfrm>
        </p:spPr>
        <p:txBody>
          <a:bodyPr/>
          <a:lstStyle>
            <a:lvl1pPr marL="0" indent="0">
              <a:buNone/>
              <a:defRPr sz="2799"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6" y="4657730"/>
            <a:ext cx="5989609" cy="939799"/>
          </a:xfrm>
        </p:spPr>
        <p:txBody>
          <a:bodyPr>
            <a:normAutofit/>
          </a:bodyPr>
          <a:lstStyle>
            <a:lvl1pPr marL="0" indent="0">
              <a:buNone/>
              <a:defRPr sz="2399"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4152536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78747"/>
            <a:ext cx="10515600"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51" indent="0">
              <a:buNone/>
              <a:defRPr sz="2000">
                <a:latin typeface="Arial" panose="020B0604020202020204" pitchFamily="34" charset="0"/>
                <a:cs typeface="Arial" panose="020B0604020202020204" pitchFamily="34" charset="0"/>
              </a:defRPr>
            </a:lvl2pPr>
            <a:lvl3pPr marL="914104" indent="0">
              <a:buNone/>
              <a:defRPr sz="2000">
                <a:latin typeface="Arial" panose="020B0604020202020204" pitchFamily="34" charset="0"/>
                <a:cs typeface="Arial" panose="020B0604020202020204" pitchFamily="34" charset="0"/>
              </a:defRPr>
            </a:lvl3pPr>
            <a:lvl4pPr marL="1371155" indent="0">
              <a:buNone/>
              <a:defRPr sz="1800">
                <a:latin typeface="Arial" panose="020B0604020202020204" pitchFamily="34" charset="0"/>
                <a:cs typeface="Arial" panose="020B0604020202020204" pitchFamily="34" charset="0"/>
              </a:defRPr>
            </a:lvl4pPr>
            <a:lvl5pPr marL="1828206"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3"/>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a:solidFill>
                <a:srgbClr val="FFFFFF"/>
              </a:solidFill>
            </a:endParaRPr>
          </a:p>
        </p:txBody>
      </p:sp>
      <p:sp>
        <p:nvSpPr>
          <p:cNvPr id="13" name="Rectangle 12"/>
          <p:cNvSpPr>
            <a:spLocks noChangeArrowheads="1"/>
          </p:cNvSpPr>
          <p:nvPr/>
        </p:nvSpPr>
        <p:spPr bwMode="auto">
          <a:xfrm>
            <a:off x="0" y="6129590"/>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5"/>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userDrawn="1"/>
        </p:nvSpPr>
        <p:spPr bwMode="auto">
          <a:xfrm>
            <a:off x="1" y="6288794"/>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43"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4/2024</a:t>
            </a:fld>
            <a:endParaRPr lang="en-US"/>
          </a:p>
        </p:txBody>
      </p:sp>
    </p:spTree>
    <p:extLst>
      <p:ext uri="{BB962C8B-B14F-4D97-AF65-F5344CB8AC3E}">
        <p14:creationId xmlns:p14="http://schemas.microsoft.com/office/powerpoint/2010/main" val="26117589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476"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51" indent="0">
              <a:buNone/>
              <a:defRPr sz="2000">
                <a:latin typeface="Arial" panose="020B0604020202020204" pitchFamily="34" charset="0"/>
                <a:cs typeface="Arial" panose="020B0604020202020204" pitchFamily="34" charset="0"/>
              </a:defRPr>
            </a:lvl2pPr>
            <a:lvl3pPr marL="914104" indent="0">
              <a:buNone/>
              <a:defRPr sz="1800">
                <a:latin typeface="Arial" panose="020B0604020202020204" pitchFamily="34" charset="0"/>
                <a:cs typeface="Arial" panose="020B0604020202020204" pitchFamily="34" charset="0"/>
              </a:defRPr>
            </a:lvl3pPr>
            <a:lvl4pPr marL="1371155" indent="0">
              <a:buNone/>
              <a:defRPr sz="1800">
                <a:latin typeface="Arial" panose="020B0604020202020204" pitchFamily="34" charset="0"/>
                <a:cs typeface="Arial" panose="020B0604020202020204" pitchFamily="34" charset="0"/>
              </a:defRPr>
            </a:lvl4pPr>
            <a:lvl5pPr marL="1828206"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5476"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51" indent="0">
              <a:buNone/>
              <a:defRPr sz="2000">
                <a:latin typeface="Arial" panose="020B0604020202020204" pitchFamily="34" charset="0"/>
                <a:cs typeface="Arial" panose="020B0604020202020204" pitchFamily="34" charset="0"/>
              </a:defRPr>
            </a:lvl2pPr>
            <a:lvl3pPr marL="914104" indent="0">
              <a:buNone/>
              <a:defRPr sz="1800">
                <a:latin typeface="Arial" panose="020B0604020202020204" pitchFamily="34" charset="0"/>
                <a:cs typeface="Arial" panose="020B0604020202020204" pitchFamily="34" charset="0"/>
              </a:defRPr>
            </a:lvl3pPr>
            <a:lvl4pPr marL="1371155" indent="0">
              <a:buNone/>
              <a:defRPr sz="1800">
                <a:latin typeface="Arial" panose="020B0604020202020204" pitchFamily="34" charset="0"/>
                <a:cs typeface="Arial" panose="020B0604020202020204" pitchFamily="34" charset="0"/>
              </a:defRPr>
            </a:lvl4pPr>
            <a:lvl5pPr marL="1828206"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3"/>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a:solidFill>
                <a:srgbClr val="FFFFFF"/>
              </a:solidFill>
            </a:endParaRPr>
          </a:p>
        </p:txBody>
      </p:sp>
      <p:sp>
        <p:nvSpPr>
          <p:cNvPr id="10" name="Rectangle 9"/>
          <p:cNvSpPr>
            <a:spLocks noChangeArrowheads="1"/>
          </p:cNvSpPr>
          <p:nvPr/>
        </p:nvSpPr>
        <p:spPr bwMode="auto">
          <a:xfrm>
            <a:off x="0" y="6129590"/>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91680" y="6333905"/>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6780F277-7BC7-4EA2-B347-688862EDBA3E}"/>
              </a:ext>
            </a:extLst>
          </p:cNvPr>
          <p:cNvSpPr txBox="1">
            <a:spLocks noChangeArrowheads="1"/>
          </p:cNvSpPr>
          <p:nvPr userDrawn="1"/>
        </p:nvSpPr>
        <p:spPr bwMode="auto">
          <a:xfrm>
            <a:off x="1" y="6288794"/>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6" name="Date Placeholder 3">
            <a:extLst>
              <a:ext uri="{FF2B5EF4-FFF2-40B4-BE49-F238E27FC236}">
                <a16:creationId xmlns:a16="http://schemas.microsoft.com/office/drawing/2014/main" id="{6A0A4CCF-B58C-4EF2-B601-EE66FEB2C9A4}"/>
              </a:ext>
            </a:extLst>
          </p:cNvPr>
          <p:cNvSpPr>
            <a:spLocks noGrp="1"/>
          </p:cNvSpPr>
          <p:nvPr>
            <p:ph type="dt" sz="half" idx="10"/>
          </p:nvPr>
        </p:nvSpPr>
        <p:spPr>
          <a:xfrm>
            <a:off x="31643"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4/2024</a:t>
            </a:fld>
            <a:endParaRPr lang="en-US"/>
          </a:p>
        </p:txBody>
      </p:sp>
    </p:spTree>
    <p:extLst>
      <p:ext uri="{BB962C8B-B14F-4D97-AF65-F5344CB8AC3E}">
        <p14:creationId xmlns:p14="http://schemas.microsoft.com/office/powerpoint/2010/main" val="14569408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12" name="Rectangle 11"/>
          <p:cNvSpPr/>
          <p:nvPr/>
        </p:nvSpPr>
        <p:spPr>
          <a:xfrm>
            <a:off x="-708" y="6083873"/>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a:solidFill>
                <a:srgbClr val="FFFFFF"/>
              </a:solidFill>
            </a:endParaRPr>
          </a:p>
        </p:txBody>
      </p:sp>
      <p:sp>
        <p:nvSpPr>
          <p:cNvPr id="13" name="Rectangle 12"/>
          <p:cNvSpPr>
            <a:spLocks noChangeArrowheads="1"/>
          </p:cNvSpPr>
          <p:nvPr/>
        </p:nvSpPr>
        <p:spPr bwMode="auto">
          <a:xfrm>
            <a:off x="0" y="6129590"/>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5"/>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8200" y="821887"/>
            <a:ext cx="10515600" cy="3326760"/>
          </a:xfrm>
        </p:spPr>
        <p:txBody>
          <a:bodyPr anchor="ctr">
            <a:normAutofit/>
          </a:bodyPr>
          <a:lstStyle>
            <a:lvl1pPr marL="0" indent="0" algn="ctr">
              <a:buNone/>
              <a:defRPr sz="2400">
                <a:latin typeface="Arial" panose="020B0604020202020204" pitchFamily="34" charset="0"/>
                <a:cs typeface="Arial" panose="020B0604020202020204" pitchFamily="34" charset="0"/>
              </a:defRPr>
            </a:lvl1pPr>
            <a:lvl2pPr marL="457051" indent="0">
              <a:buNone/>
              <a:defRPr sz="2000">
                <a:latin typeface="Arial" panose="020B0604020202020204" pitchFamily="34" charset="0"/>
                <a:cs typeface="Arial" panose="020B0604020202020204" pitchFamily="34" charset="0"/>
              </a:defRPr>
            </a:lvl2pPr>
            <a:lvl3pPr marL="914104" indent="0">
              <a:buNone/>
              <a:defRPr sz="2000">
                <a:latin typeface="Arial" panose="020B0604020202020204" pitchFamily="34" charset="0"/>
                <a:cs typeface="Arial" panose="020B0604020202020204" pitchFamily="34" charset="0"/>
              </a:defRPr>
            </a:lvl3pPr>
            <a:lvl4pPr marL="1371155" indent="0">
              <a:buNone/>
              <a:defRPr sz="1800">
                <a:latin typeface="Arial" panose="020B0604020202020204" pitchFamily="34" charset="0"/>
                <a:cs typeface="Arial" panose="020B0604020202020204" pitchFamily="34" charset="0"/>
              </a:defRPr>
            </a:lvl4pPr>
            <a:lvl5pPr marL="1828206" indent="0">
              <a:buNone/>
              <a:defRPr sz="1800">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491" y="4352961"/>
            <a:ext cx="10515600" cy="707886"/>
          </a:xfrm>
          <a:prstGeom prst="rect">
            <a:avLst/>
          </a:prstGeom>
          <a:noFill/>
        </p:spPr>
        <p:txBody>
          <a:bodyPr wrap="square" rtlCol="0">
            <a:spAutoFit/>
          </a:bodyPr>
          <a:lstStyle/>
          <a:p>
            <a:pPr algn="ctr"/>
            <a:r>
              <a:rPr lang="en-US" sz="4000" b="1">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userDrawn="1"/>
        </p:nvSpPr>
        <p:spPr bwMode="auto">
          <a:xfrm>
            <a:off x="1" y="6288794"/>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43"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4/2024</a:t>
            </a:fld>
            <a:endParaRPr lang="en-US"/>
          </a:p>
        </p:txBody>
      </p:sp>
    </p:spTree>
    <p:extLst>
      <p:ext uri="{BB962C8B-B14F-4D97-AF65-F5344CB8AC3E}">
        <p14:creationId xmlns:p14="http://schemas.microsoft.com/office/powerpoint/2010/main" val="20810893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2"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
        <p:nvSpPr>
          <p:cNvPr id="28" name="Focus Frame 2"/>
          <p:cNvSpPr>
            <a:spLocks noChangeAspect="1"/>
          </p:cNvSpPr>
          <p:nvPr/>
        </p:nvSpPr>
        <p:spPr bwMode="gray">
          <a:xfrm>
            <a:off x="7998863"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29" name="Focus Frame 2"/>
          <p:cNvSpPr>
            <a:spLocks noChangeAspect="1"/>
          </p:cNvSpPr>
          <p:nvPr/>
        </p:nvSpPr>
        <p:spPr bwMode="gray">
          <a:xfrm>
            <a:off x="1588461"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4"/>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8" y="1025529"/>
            <a:ext cx="5989649" cy="2085975"/>
          </a:xfrm>
        </p:spPr>
        <p:txBody>
          <a:bodyPr>
            <a:normAutofit/>
          </a:bodyPr>
          <a:lstStyle>
            <a:lvl1pPr marL="0" indent="0">
              <a:buNone/>
              <a:defRPr sz="3999"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6" y="3263900"/>
            <a:ext cx="5989609" cy="1244600"/>
          </a:xfrm>
        </p:spPr>
        <p:txBody>
          <a:bodyPr/>
          <a:lstStyle>
            <a:lvl1pPr marL="0" indent="0">
              <a:buNone/>
              <a:defRPr sz="2799"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6" y="4657730"/>
            <a:ext cx="5989609" cy="939799"/>
          </a:xfrm>
        </p:spPr>
        <p:txBody>
          <a:bodyPr>
            <a:normAutofit/>
          </a:bodyPr>
          <a:lstStyle>
            <a:lvl1pPr marL="0" indent="0">
              <a:buNone/>
              <a:defRPr sz="2399"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2995481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2"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dirty="0">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936" y="1354043"/>
            <a:ext cx="5029200" cy="3286925"/>
          </a:xfrm>
        </p:spPr>
        <p:txBody>
          <a:bodyPr anchor="ctr">
            <a:normAutofit/>
          </a:bodyPr>
          <a:lstStyle>
            <a:lvl1pPr>
              <a:defRPr sz="3199">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7"/>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0" y="1354039"/>
            <a:ext cx="1753953" cy="3286927"/>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15" name="Rectangle 14"/>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dirty="0">
              <a:solidFill>
                <a:srgbClr val="FFFFFF"/>
              </a:solidFill>
            </a:endParaRPr>
          </a:p>
        </p:txBody>
      </p:sp>
      <p:sp>
        <p:nvSpPr>
          <p:cNvPr id="16" name="Rectangle 15"/>
          <p:cNvSpPr>
            <a:spLocks noChangeArrowheads="1"/>
          </p:cNvSpPr>
          <p:nvPr/>
        </p:nvSpPr>
        <p:spPr bwMode="auto">
          <a:xfrm>
            <a:off x="1" y="6129162"/>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dirty="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8"/>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1" y="6288794"/>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31645"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endParaRPr lang="en-US" dirty="0"/>
          </a:p>
        </p:txBody>
      </p:sp>
    </p:spTree>
    <p:extLst>
      <p:ext uri="{BB962C8B-B14F-4D97-AF65-F5344CB8AC3E}">
        <p14:creationId xmlns:p14="http://schemas.microsoft.com/office/powerpoint/2010/main" val="29823806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78750"/>
            <a:ext cx="10515600" cy="4847719"/>
          </a:xfrm>
        </p:spPr>
        <p:txBody>
          <a:bodyPr>
            <a:normAutofit/>
          </a:bodyPr>
          <a:lstStyle>
            <a:lvl1pPr marL="0" indent="0">
              <a:buNone/>
              <a:defRPr sz="2399">
                <a:latin typeface="Arial" panose="020B0604020202020204" pitchFamily="34" charset="0"/>
                <a:cs typeface="Arial" panose="020B0604020202020204" pitchFamily="34" charset="0"/>
              </a:defRPr>
            </a:lvl1pPr>
            <a:lvl2pPr marL="456915" indent="0">
              <a:buNone/>
              <a:defRPr sz="1999">
                <a:latin typeface="Arial" panose="020B0604020202020204" pitchFamily="34" charset="0"/>
                <a:cs typeface="Arial" panose="020B0604020202020204" pitchFamily="34" charset="0"/>
              </a:defRPr>
            </a:lvl2pPr>
            <a:lvl3pPr marL="913829" indent="0">
              <a:buNone/>
              <a:defRPr sz="1999">
                <a:latin typeface="Arial" panose="020B0604020202020204" pitchFamily="34" charset="0"/>
                <a:cs typeface="Arial" panose="020B0604020202020204" pitchFamily="34" charset="0"/>
              </a:defRPr>
            </a:lvl3pPr>
            <a:lvl4pPr marL="1370744" indent="0">
              <a:buNone/>
              <a:defRPr sz="1799">
                <a:latin typeface="Arial" panose="020B0604020202020204" pitchFamily="34" charset="0"/>
                <a:cs typeface="Arial" panose="020B0604020202020204" pitchFamily="34" charset="0"/>
              </a:defRPr>
            </a:lvl4pPr>
            <a:lvl5pPr marL="1827658"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dirty="0">
              <a:solidFill>
                <a:srgbClr val="FFFFFF"/>
              </a:solidFill>
            </a:endParaRPr>
          </a:p>
        </p:txBody>
      </p:sp>
      <p:sp>
        <p:nvSpPr>
          <p:cNvPr id="13" name="Rectangle 12"/>
          <p:cNvSpPr>
            <a:spLocks noChangeArrowheads="1"/>
          </p:cNvSpPr>
          <p:nvPr/>
        </p:nvSpPr>
        <p:spPr bwMode="auto">
          <a:xfrm>
            <a:off x="1" y="6129590"/>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8"/>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userDrawn="1"/>
        </p:nvSpPr>
        <p:spPr bwMode="auto">
          <a:xfrm>
            <a:off x="1" y="6288794"/>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45"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endParaRPr lang="en-US" dirty="0"/>
          </a:p>
        </p:txBody>
      </p:sp>
    </p:spTree>
    <p:extLst>
      <p:ext uri="{BB962C8B-B14F-4D97-AF65-F5344CB8AC3E}">
        <p14:creationId xmlns:p14="http://schemas.microsoft.com/office/powerpoint/2010/main" val="23910700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476" y="964768"/>
            <a:ext cx="5181600" cy="4389120"/>
          </a:xfrm>
        </p:spPr>
        <p:txBody>
          <a:bodyPr>
            <a:normAutofit/>
          </a:bodyPr>
          <a:lstStyle>
            <a:lvl1pPr marL="0" indent="0">
              <a:buNone/>
              <a:defRPr sz="2399">
                <a:latin typeface="Arial" panose="020B0604020202020204" pitchFamily="34" charset="0"/>
                <a:cs typeface="Arial" panose="020B0604020202020204" pitchFamily="34" charset="0"/>
              </a:defRPr>
            </a:lvl1pPr>
            <a:lvl2pPr marL="456915" indent="0">
              <a:buNone/>
              <a:defRPr sz="1999">
                <a:latin typeface="Arial" panose="020B0604020202020204" pitchFamily="34" charset="0"/>
                <a:cs typeface="Arial" panose="020B0604020202020204" pitchFamily="34" charset="0"/>
              </a:defRPr>
            </a:lvl2pPr>
            <a:lvl3pPr marL="913829" indent="0">
              <a:buNone/>
              <a:defRPr sz="1799">
                <a:latin typeface="Arial" panose="020B0604020202020204" pitchFamily="34" charset="0"/>
                <a:cs typeface="Arial" panose="020B0604020202020204" pitchFamily="34" charset="0"/>
              </a:defRPr>
            </a:lvl3pPr>
            <a:lvl4pPr marL="1370744" indent="0">
              <a:buNone/>
              <a:defRPr sz="1799">
                <a:latin typeface="Arial" panose="020B0604020202020204" pitchFamily="34" charset="0"/>
                <a:cs typeface="Arial" panose="020B0604020202020204" pitchFamily="34" charset="0"/>
              </a:defRPr>
            </a:lvl4pPr>
            <a:lvl5pPr marL="1827658"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5476" y="964768"/>
            <a:ext cx="5181600" cy="4389120"/>
          </a:xfrm>
        </p:spPr>
        <p:txBody>
          <a:bodyPr>
            <a:normAutofit/>
          </a:bodyPr>
          <a:lstStyle>
            <a:lvl1pPr marL="0" indent="0">
              <a:buNone/>
              <a:defRPr sz="2399">
                <a:latin typeface="Arial" panose="020B0604020202020204" pitchFamily="34" charset="0"/>
                <a:cs typeface="Arial" panose="020B0604020202020204" pitchFamily="34" charset="0"/>
              </a:defRPr>
            </a:lvl1pPr>
            <a:lvl2pPr marL="456915" indent="0">
              <a:buNone/>
              <a:defRPr sz="1999">
                <a:latin typeface="Arial" panose="020B0604020202020204" pitchFamily="34" charset="0"/>
                <a:cs typeface="Arial" panose="020B0604020202020204" pitchFamily="34" charset="0"/>
              </a:defRPr>
            </a:lvl2pPr>
            <a:lvl3pPr marL="913829" indent="0">
              <a:buNone/>
              <a:defRPr sz="1799">
                <a:latin typeface="Arial" panose="020B0604020202020204" pitchFamily="34" charset="0"/>
                <a:cs typeface="Arial" panose="020B0604020202020204" pitchFamily="34" charset="0"/>
              </a:defRPr>
            </a:lvl3pPr>
            <a:lvl4pPr marL="1370744" indent="0">
              <a:buNone/>
              <a:defRPr sz="1799">
                <a:latin typeface="Arial" panose="020B0604020202020204" pitchFamily="34" charset="0"/>
                <a:cs typeface="Arial" panose="020B0604020202020204" pitchFamily="34" charset="0"/>
              </a:defRPr>
            </a:lvl4pPr>
            <a:lvl5pPr marL="1827658"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dirty="0">
              <a:solidFill>
                <a:srgbClr val="FFFFFF"/>
              </a:solidFill>
            </a:endParaRPr>
          </a:p>
        </p:txBody>
      </p:sp>
      <p:sp>
        <p:nvSpPr>
          <p:cNvPr id="10" name="Rectangle 9"/>
          <p:cNvSpPr>
            <a:spLocks noChangeArrowheads="1"/>
          </p:cNvSpPr>
          <p:nvPr/>
        </p:nvSpPr>
        <p:spPr bwMode="auto">
          <a:xfrm>
            <a:off x="1" y="6129590"/>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dirty="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91680" y="6333908"/>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6780F277-7BC7-4EA2-B347-688862EDBA3E}"/>
              </a:ext>
            </a:extLst>
          </p:cNvPr>
          <p:cNvSpPr txBox="1">
            <a:spLocks noChangeArrowheads="1"/>
          </p:cNvSpPr>
          <p:nvPr userDrawn="1"/>
        </p:nvSpPr>
        <p:spPr bwMode="auto">
          <a:xfrm>
            <a:off x="1" y="6288794"/>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16" name="Date Placeholder 3">
            <a:extLst>
              <a:ext uri="{FF2B5EF4-FFF2-40B4-BE49-F238E27FC236}">
                <a16:creationId xmlns:a16="http://schemas.microsoft.com/office/drawing/2014/main" id="{6A0A4CCF-B58C-4EF2-B601-EE66FEB2C9A4}"/>
              </a:ext>
            </a:extLst>
          </p:cNvPr>
          <p:cNvSpPr>
            <a:spLocks noGrp="1"/>
          </p:cNvSpPr>
          <p:nvPr>
            <p:ph type="dt" sz="half" idx="10"/>
          </p:nvPr>
        </p:nvSpPr>
        <p:spPr>
          <a:xfrm>
            <a:off x="31645"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endParaRPr lang="en-US" dirty="0"/>
          </a:p>
        </p:txBody>
      </p:sp>
    </p:spTree>
    <p:extLst>
      <p:ext uri="{BB962C8B-B14F-4D97-AF65-F5344CB8AC3E}">
        <p14:creationId xmlns:p14="http://schemas.microsoft.com/office/powerpoint/2010/main" val="39372179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12" name="Rectangle 11"/>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dirty="0">
              <a:solidFill>
                <a:srgbClr val="FFFFFF"/>
              </a:solidFill>
            </a:endParaRPr>
          </a:p>
        </p:txBody>
      </p:sp>
      <p:sp>
        <p:nvSpPr>
          <p:cNvPr id="13" name="Rectangle 12"/>
          <p:cNvSpPr>
            <a:spLocks noChangeArrowheads="1"/>
          </p:cNvSpPr>
          <p:nvPr/>
        </p:nvSpPr>
        <p:spPr bwMode="auto">
          <a:xfrm>
            <a:off x="1" y="6129590"/>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8"/>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8200" y="821887"/>
            <a:ext cx="10515600" cy="3326760"/>
          </a:xfrm>
        </p:spPr>
        <p:txBody>
          <a:bodyPr anchor="ctr">
            <a:normAutofit/>
          </a:bodyPr>
          <a:lstStyle>
            <a:lvl1pPr marL="0" indent="0" algn="ctr">
              <a:buNone/>
              <a:defRPr sz="2399">
                <a:latin typeface="Arial" panose="020B0604020202020204" pitchFamily="34" charset="0"/>
                <a:cs typeface="Arial" panose="020B0604020202020204" pitchFamily="34" charset="0"/>
              </a:defRPr>
            </a:lvl1pPr>
            <a:lvl2pPr marL="456915" indent="0">
              <a:buNone/>
              <a:defRPr sz="1999">
                <a:latin typeface="Arial" panose="020B0604020202020204" pitchFamily="34" charset="0"/>
                <a:cs typeface="Arial" panose="020B0604020202020204" pitchFamily="34" charset="0"/>
              </a:defRPr>
            </a:lvl2pPr>
            <a:lvl3pPr marL="913829" indent="0">
              <a:buNone/>
              <a:defRPr sz="1999">
                <a:latin typeface="Arial" panose="020B0604020202020204" pitchFamily="34" charset="0"/>
                <a:cs typeface="Arial" panose="020B0604020202020204" pitchFamily="34" charset="0"/>
              </a:defRPr>
            </a:lvl3pPr>
            <a:lvl4pPr marL="1370744" indent="0">
              <a:buNone/>
              <a:defRPr sz="1799">
                <a:latin typeface="Arial" panose="020B0604020202020204" pitchFamily="34" charset="0"/>
                <a:cs typeface="Arial" panose="020B0604020202020204" pitchFamily="34" charset="0"/>
              </a:defRPr>
            </a:lvl4pPr>
            <a:lvl5pPr marL="1827658" indent="0">
              <a:buNone/>
              <a:defRPr sz="1799">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491" y="4352962"/>
            <a:ext cx="10515600" cy="707758"/>
          </a:xfrm>
          <a:prstGeom prst="rect">
            <a:avLst/>
          </a:prstGeom>
          <a:noFill/>
        </p:spPr>
        <p:txBody>
          <a:bodyPr wrap="square" rtlCol="0">
            <a:spAutoFit/>
          </a:bodyPr>
          <a:lstStyle/>
          <a:p>
            <a:pPr algn="ctr"/>
            <a:r>
              <a:rPr lang="en-US" sz="3999" b="1" dirty="0">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userDrawn="1"/>
        </p:nvSpPr>
        <p:spPr bwMode="auto">
          <a:xfrm>
            <a:off x="1" y="6288794"/>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45"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endParaRPr lang="en-US" dirty="0"/>
          </a:p>
        </p:txBody>
      </p:sp>
    </p:spTree>
    <p:extLst>
      <p:ext uri="{BB962C8B-B14F-4D97-AF65-F5344CB8AC3E}">
        <p14:creationId xmlns:p14="http://schemas.microsoft.com/office/powerpoint/2010/main" val="2806816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3"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3" y="3602037"/>
            <a:ext cx="9144000" cy="1655763"/>
          </a:xfrm>
        </p:spPr>
        <p:txBody>
          <a:bodyPr/>
          <a:lstStyle>
            <a:lvl1pPr marL="0" indent="0" algn="ctr">
              <a:buNone/>
              <a:defRPr sz="2399"/>
            </a:lvl1pPr>
            <a:lvl2pPr marL="456915" indent="0" algn="ctr">
              <a:buNone/>
              <a:defRPr sz="1999"/>
            </a:lvl2pPr>
            <a:lvl3pPr marL="913829" indent="0" algn="ctr">
              <a:buNone/>
              <a:defRPr sz="1799"/>
            </a:lvl3pPr>
            <a:lvl4pPr marL="1370744" indent="0" algn="ctr">
              <a:buNone/>
              <a:defRPr sz="1600"/>
            </a:lvl4pPr>
            <a:lvl5pPr marL="1827657" indent="0" algn="ctr">
              <a:buNone/>
              <a:defRPr sz="1600"/>
            </a:lvl5pPr>
            <a:lvl6pPr marL="2284571" indent="0" algn="ctr">
              <a:buNone/>
              <a:defRPr sz="1600"/>
            </a:lvl6pPr>
            <a:lvl7pPr marL="2741486" indent="0" algn="ctr">
              <a:buNone/>
              <a:defRPr sz="1600"/>
            </a:lvl7pPr>
            <a:lvl8pPr marL="3198400" indent="0" algn="ctr">
              <a:buNone/>
              <a:defRPr sz="1600"/>
            </a:lvl8pPr>
            <a:lvl9pPr marL="3655315"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a:xfrm>
            <a:off x="11546962" y="6475235"/>
            <a:ext cx="645041" cy="382773"/>
          </a:xfrm>
          <a:prstGeom prst="rect">
            <a:avLst/>
          </a:prstGeom>
        </p:spPr>
        <p:txBody>
          <a:bodyPr/>
          <a:lstStyle/>
          <a:p>
            <a:fld id="{D707304A-433C-4B5B-A507-AD407BE4ED27}" type="slidenum">
              <a:rPr lang="en-US" smtClean="0">
                <a:solidFill>
                  <a:prstClr val="white">
                    <a:lumMod val="50000"/>
                  </a:prstClr>
                </a:solidFill>
              </a:rPr>
              <a:pPr/>
              <a:t>‹#›</a:t>
            </a:fld>
            <a:endParaRPr lang="en-US" dirty="0">
              <a:solidFill>
                <a:prstClr val="white">
                  <a:lumMod val="50000"/>
                </a:prstClr>
              </a:solidFill>
            </a:endParaRPr>
          </a:p>
        </p:txBody>
      </p:sp>
    </p:spTree>
    <p:extLst>
      <p:ext uri="{BB962C8B-B14F-4D97-AF65-F5344CB8AC3E}">
        <p14:creationId xmlns:p14="http://schemas.microsoft.com/office/powerpoint/2010/main" val="383436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1"/>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3"/>
          </a:xfrm>
          <a:prstGeom prst="rect">
            <a:avLst/>
          </a:prstGeom>
        </p:spPr>
        <p:txBody>
          <a:bodyPr vert="horz" lIns="0" tIns="0" rIns="0" bIns="0" rtlCol="0" anchor="t" anchorCtr="0">
            <a:noAutofit/>
          </a:bodyPr>
          <a:lstStyle>
            <a:lvl1pPr>
              <a:defRPr sz="1999"/>
            </a:lvl1pPr>
          </a:lstStyle>
          <a:p>
            <a:r>
              <a:rPr lang="en-US" noProof="0"/>
              <a:t>Click to edit Master title style</a:t>
            </a:r>
          </a:p>
        </p:txBody>
      </p:sp>
    </p:spTree>
    <p:extLst>
      <p:ext uri="{BB962C8B-B14F-4D97-AF65-F5344CB8AC3E}">
        <p14:creationId xmlns:p14="http://schemas.microsoft.com/office/powerpoint/2010/main" val="295467430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
        <p:nvSpPr>
          <p:cNvPr id="28" name="Focus Frame 2"/>
          <p:cNvSpPr>
            <a:spLocks noChangeAspect="1"/>
          </p:cNvSpPr>
          <p:nvPr/>
        </p:nvSpPr>
        <p:spPr bwMode="gray">
          <a:xfrm>
            <a:off x="7998863"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29" name="Focus Frame 2"/>
          <p:cNvSpPr>
            <a:spLocks noChangeAspect="1"/>
          </p:cNvSpPr>
          <p:nvPr/>
        </p:nvSpPr>
        <p:spPr bwMode="gray">
          <a:xfrm>
            <a:off x="1588461"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1"/>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6" y="1025526"/>
            <a:ext cx="598964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6" y="3263900"/>
            <a:ext cx="5989609"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6" y="4657727"/>
            <a:ext cx="5989609"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16254284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936" y="1354040"/>
            <a:ext cx="5029200" cy="3286925"/>
          </a:xfrm>
        </p:spPr>
        <p:txBody>
          <a:bodyPr anchor="ctr">
            <a:normAutofit/>
          </a:bodyPr>
          <a:lstStyle>
            <a:lvl1pPr>
              <a:defRPr sz="3199">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7"/>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0" y="1354039"/>
            <a:ext cx="1753953" cy="3286927"/>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15" name="Rectangle 14"/>
          <p:cNvSpPr/>
          <p:nvPr/>
        </p:nvSpPr>
        <p:spPr>
          <a:xfrm>
            <a:off x="-708" y="6083873"/>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1">
              <a:solidFill>
                <a:srgbClr val="FFFFFF"/>
              </a:solidFill>
            </a:endParaRPr>
          </a:p>
        </p:txBody>
      </p:sp>
      <p:sp>
        <p:nvSpPr>
          <p:cNvPr id="16" name="Rectangle 15"/>
          <p:cNvSpPr>
            <a:spLocks noChangeArrowheads="1"/>
          </p:cNvSpPr>
          <p:nvPr/>
        </p:nvSpPr>
        <p:spPr bwMode="auto">
          <a:xfrm>
            <a:off x="0" y="6129162"/>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1">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5"/>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1" y="6288794"/>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31643" y="6463091"/>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4/2024</a:t>
            </a:fld>
            <a:endParaRPr lang="en-US"/>
          </a:p>
        </p:txBody>
      </p:sp>
    </p:spTree>
    <p:extLst>
      <p:ext uri="{BB962C8B-B14F-4D97-AF65-F5344CB8AC3E}">
        <p14:creationId xmlns:p14="http://schemas.microsoft.com/office/powerpoint/2010/main" val="13175153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6.bin"/><Relationship Id="rId4" Type="http://schemas.openxmlformats.org/officeDocument/2006/relationships/slideLayout" Target="../slideLayouts/slideLayout11.xml"/><Relationship Id="rId9"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9"/>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1" imgW="624" imgH="623" progId="TCLayout.ActiveDocument.1">
                  <p:embed/>
                </p:oleObj>
              </mc:Choice>
              <mc:Fallback>
                <p:oleObj name="think-cell Slide" r:id="rId11" imgW="624" imgH="623" progId="TCLayout.ActiveDocument.1">
                  <p:embed/>
                  <p:pic>
                    <p:nvPicPr>
                      <p:cNvPr id="14" name="Object 13" hidden="1"/>
                      <p:cNvPicPr/>
                      <p:nvPr/>
                    </p:nvPicPr>
                    <p:blipFill>
                      <a:blip r:embed="rId12"/>
                      <a:stretch>
                        <a:fillRect/>
                      </a:stretch>
                    </p:blipFill>
                    <p:spPr>
                      <a:xfrm>
                        <a:off x="1589" y="1589"/>
                        <a:ext cx="1588" cy="1588"/>
                      </a:xfrm>
                      <a:prstGeom prst="rect">
                        <a:avLst/>
                      </a:prstGeom>
                    </p:spPr>
                  </p:pic>
                </p:oleObj>
              </mc:Fallback>
            </mc:AlternateContent>
          </a:graphicData>
        </a:graphic>
      </p:graphicFrame>
      <p:sp>
        <p:nvSpPr>
          <p:cNvPr id="13" name="Rectangle 12" hidden="1"/>
          <p:cNvSpPr/>
          <p:nvPr>
            <p:custDataLst>
              <p:tags r:id="rId10"/>
            </p:custDataLst>
          </p:nvPr>
        </p:nvSpPr>
        <p:spPr>
          <a:xfrm>
            <a:off x="2"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 name="Title Placeholder 1"/>
          <p:cNvSpPr>
            <a:spLocks noGrp="1"/>
          </p:cNvSpPr>
          <p:nvPr>
            <p:ph type="title"/>
          </p:nvPr>
        </p:nvSpPr>
        <p:spPr>
          <a:xfrm>
            <a:off x="371475" y="3"/>
            <a:ext cx="10515600"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475" y="1077482"/>
            <a:ext cx="10515600" cy="496058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421" y="6356352"/>
            <a:ext cx="2742327"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32807821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hdr="0" ftr="0" dt="0"/>
  <p:txStyles>
    <p:titleStyle>
      <a:lvl1pPr algn="l" defTabSz="913829"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3829" rtl="0" eaLnBrk="1" latinLnBrk="0" hangingPunct="1">
        <a:lnSpc>
          <a:spcPct val="90000"/>
        </a:lnSpc>
        <a:spcBef>
          <a:spcPts val="1000"/>
        </a:spcBef>
        <a:buFont typeface="Arial" panose="020B0604020202020204" pitchFamily="34" charset="0"/>
        <a:buNone/>
        <a:defRPr sz="2799" kern="1200">
          <a:solidFill>
            <a:schemeClr val="tx1"/>
          </a:solidFill>
          <a:latin typeface="Arial" panose="020B0604020202020204" pitchFamily="34" charset="0"/>
          <a:ea typeface="+mn-ea"/>
          <a:cs typeface="Arial" panose="020B0604020202020204" pitchFamily="34" charset="0"/>
        </a:defRPr>
      </a:lvl1pPr>
      <a:lvl2pPr marL="456915" indent="0" algn="l" defTabSz="913829"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3829" indent="0" algn="l" defTabSz="913829"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0744" indent="0" algn="l" defTabSz="913829"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7658" indent="0" algn="l" defTabSz="913829"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029" indent="-228457" algn="l" defTabSz="91382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69943" indent="-228457" algn="l" defTabSz="91382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857" indent="-228457" algn="l" defTabSz="91382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771" indent="-228457" algn="l" defTabSz="91382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29" rtl="0" eaLnBrk="1" latinLnBrk="0" hangingPunct="1">
        <a:defRPr sz="1799" kern="1200">
          <a:solidFill>
            <a:schemeClr val="tx1"/>
          </a:solidFill>
          <a:latin typeface="+mn-lt"/>
          <a:ea typeface="+mn-ea"/>
          <a:cs typeface="+mn-cs"/>
        </a:defRPr>
      </a:lvl1pPr>
      <a:lvl2pPr marL="456915" algn="l" defTabSz="913829" rtl="0" eaLnBrk="1" latinLnBrk="0" hangingPunct="1">
        <a:defRPr sz="1799" kern="1200">
          <a:solidFill>
            <a:schemeClr val="tx1"/>
          </a:solidFill>
          <a:latin typeface="+mn-lt"/>
          <a:ea typeface="+mn-ea"/>
          <a:cs typeface="+mn-cs"/>
        </a:defRPr>
      </a:lvl2pPr>
      <a:lvl3pPr marL="913829" algn="l" defTabSz="913829" rtl="0" eaLnBrk="1" latinLnBrk="0" hangingPunct="1">
        <a:defRPr sz="1799" kern="1200">
          <a:solidFill>
            <a:schemeClr val="tx1"/>
          </a:solidFill>
          <a:latin typeface="+mn-lt"/>
          <a:ea typeface="+mn-ea"/>
          <a:cs typeface="+mn-cs"/>
        </a:defRPr>
      </a:lvl3pPr>
      <a:lvl4pPr marL="1370744" algn="l" defTabSz="913829" rtl="0" eaLnBrk="1" latinLnBrk="0" hangingPunct="1">
        <a:defRPr sz="1799" kern="1200">
          <a:solidFill>
            <a:schemeClr val="tx1"/>
          </a:solidFill>
          <a:latin typeface="+mn-lt"/>
          <a:ea typeface="+mn-ea"/>
          <a:cs typeface="+mn-cs"/>
        </a:defRPr>
      </a:lvl4pPr>
      <a:lvl5pPr marL="1827657" algn="l" defTabSz="913829" rtl="0" eaLnBrk="1" latinLnBrk="0" hangingPunct="1">
        <a:defRPr sz="1799" kern="1200">
          <a:solidFill>
            <a:schemeClr val="tx1"/>
          </a:solidFill>
          <a:latin typeface="+mn-lt"/>
          <a:ea typeface="+mn-ea"/>
          <a:cs typeface="+mn-cs"/>
        </a:defRPr>
      </a:lvl5pPr>
      <a:lvl6pPr marL="2284571" algn="l" defTabSz="913829" rtl="0" eaLnBrk="1" latinLnBrk="0" hangingPunct="1">
        <a:defRPr sz="1799" kern="1200">
          <a:solidFill>
            <a:schemeClr val="tx1"/>
          </a:solidFill>
          <a:latin typeface="+mn-lt"/>
          <a:ea typeface="+mn-ea"/>
          <a:cs typeface="+mn-cs"/>
        </a:defRPr>
      </a:lvl6pPr>
      <a:lvl7pPr marL="2741486" algn="l" defTabSz="913829" rtl="0" eaLnBrk="1" latinLnBrk="0" hangingPunct="1">
        <a:defRPr sz="1799" kern="1200">
          <a:solidFill>
            <a:schemeClr val="tx1"/>
          </a:solidFill>
          <a:latin typeface="+mn-lt"/>
          <a:ea typeface="+mn-ea"/>
          <a:cs typeface="+mn-cs"/>
        </a:defRPr>
      </a:lvl7pPr>
      <a:lvl8pPr marL="3198400" algn="l" defTabSz="913829" rtl="0" eaLnBrk="1" latinLnBrk="0" hangingPunct="1">
        <a:defRPr sz="1799" kern="1200">
          <a:solidFill>
            <a:schemeClr val="tx1"/>
          </a:solidFill>
          <a:latin typeface="+mn-lt"/>
          <a:ea typeface="+mn-ea"/>
          <a:cs typeface="+mn-cs"/>
        </a:defRPr>
      </a:lvl8pPr>
      <a:lvl9pPr marL="3655315" algn="l" defTabSz="913829"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8"/>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624" imgH="623" progId="TCLayout.ActiveDocument.1">
                  <p:embed/>
                </p:oleObj>
              </mc:Choice>
              <mc:Fallback>
                <p:oleObj name="think-cell Slide" r:id="rId10" imgW="624" imgH="623" progId="TCLayout.ActiveDocument.1">
                  <p:embed/>
                  <p:pic>
                    <p:nvPicPr>
                      <p:cNvPr id="14" name="Object 13" hidden="1"/>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13" name="Rectangle 12" hidden="1"/>
          <p:cNvSpPr/>
          <p:nvPr>
            <p:custDataLst>
              <p:tags r:id="rId9"/>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Placeholder 1"/>
          <p:cNvSpPr>
            <a:spLocks noGrp="1"/>
          </p:cNvSpPr>
          <p:nvPr>
            <p:ph type="title"/>
          </p:nvPr>
        </p:nvSpPr>
        <p:spPr>
          <a:xfrm>
            <a:off x="371475" y="3"/>
            <a:ext cx="10515600"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475" y="1077482"/>
            <a:ext cx="10515600" cy="496058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419" y="6356351"/>
            <a:ext cx="274232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7E09C6-88B6-45B4-912E-3B756311B05A}" type="datetime1">
              <a:rPr lang="en-US" smtClean="0"/>
              <a:t>9/24/2024</a:t>
            </a:fld>
            <a:endParaRPr lang="en-US"/>
          </a:p>
        </p:txBody>
      </p:sp>
    </p:spTree>
    <p:extLst>
      <p:ext uri="{BB962C8B-B14F-4D97-AF65-F5344CB8AC3E}">
        <p14:creationId xmlns:p14="http://schemas.microsoft.com/office/powerpoint/2010/main" val="3647919138"/>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Lst>
  <p:hf sldNum="0" hdr="0" ftr="0"/>
  <p:txStyles>
    <p:titleStyle>
      <a:lvl1pPr algn="l" defTabSz="914104"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4104" rtl="0" eaLnBrk="1" latinLnBrk="0" hangingPunct="1">
        <a:lnSpc>
          <a:spcPct val="90000"/>
        </a:lnSpc>
        <a:spcBef>
          <a:spcPts val="1000"/>
        </a:spcBef>
        <a:buFont typeface="Arial" panose="020B0604020202020204" pitchFamily="34" charset="0"/>
        <a:buNone/>
        <a:defRPr sz="2799" kern="1200">
          <a:solidFill>
            <a:schemeClr val="tx1"/>
          </a:solidFill>
          <a:latin typeface="Arial" panose="020B0604020202020204" pitchFamily="34" charset="0"/>
          <a:ea typeface="+mn-ea"/>
          <a:cs typeface="Arial" panose="020B0604020202020204" pitchFamily="34" charset="0"/>
        </a:defRPr>
      </a:lvl1pPr>
      <a:lvl2pPr marL="457051" indent="0" algn="l" defTabSz="914104"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04" indent="0" algn="l" defTabSz="914104"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55" indent="0" algn="l" defTabSz="914104"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06" indent="0" algn="l" defTabSz="914104"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784"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834"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885"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938" indent="-228525" algn="l" defTabSz="914104"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04" rtl="0" eaLnBrk="1" latinLnBrk="0" hangingPunct="1">
        <a:defRPr sz="1799" kern="1200">
          <a:solidFill>
            <a:schemeClr val="tx1"/>
          </a:solidFill>
          <a:latin typeface="+mn-lt"/>
          <a:ea typeface="+mn-ea"/>
          <a:cs typeface="+mn-cs"/>
        </a:defRPr>
      </a:lvl1pPr>
      <a:lvl2pPr marL="457051" algn="l" defTabSz="914104" rtl="0" eaLnBrk="1" latinLnBrk="0" hangingPunct="1">
        <a:defRPr sz="1799" kern="1200">
          <a:solidFill>
            <a:schemeClr val="tx1"/>
          </a:solidFill>
          <a:latin typeface="+mn-lt"/>
          <a:ea typeface="+mn-ea"/>
          <a:cs typeface="+mn-cs"/>
        </a:defRPr>
      </a:lvl2pPr>
      <a:lvl3pPr marL="914104" algn="l" defTabSz="914104" rtl="0" eaLnBrk="1" latinLnBrk="0" hangingPunct="1">
        <a:defRPr sz="1799" kern="1200">
          <a:solidFill>
            <a:schemeClr val="tx1"/>
          </a:solidFill>
          <a:latin typeface="+mn-lt"/>
          <a:ea typeface="+mn-ea"/>
          <a:cs typeface="+mn-cs"/>
        </a:defRPr>
      </a:lvl3pPr>
      <a:lvl4pPr marL="1371155" algn="l" defTabSz="914104" rtl="0" eaLnBrk="1" latinLnBrk="0" hangingPunct="1">
        <a:defRPr sz="1799" kern="1200">
          <a:solidFill>
            <a:schemeClr val="tx1"/>
          </a:solidFill>
          <a:latin typeface="+mn-lt"/>
          <a:ea typeface="+mn-ea"/>
          <a:cs typeface="+mn-cs"/>
        </a:defRPr>
      </a:lvl4pPr>
      <a:lvl5pPr marL="1828205" algn="l" defTabSz="914104" rtl="0" eaLnBrk="1" latinLnBrk="0" hangingPunct="1">
        <a:defRPr sz="1799" kern="1200">
          <a:solidFill>
            <a:schemeClr val="tx1"/>
          </a:solidFill>
          <a:latin typeface="+mn-lt"/>
          <a:ea typeface="+mn-ea"/>
          <a:cs typeface="+mn-cs"/>
        </a:defRPr>
      </a:lvl5pPr>
      <a:lvl6pPr marL="2285258" algn="l" defTabSz="914104" rtl="0" eaLnBrk="1" latinLnBrk="0" hangingPunct="1">
        <a:defRPr sz="1799" kern="1200">
          <a:solidFill>
            <a:schemeClr val="tx1"/>
          </a:solidFill>
          <a:latin typeface="+mn-lt"/>
          <a:ea typeface="+mn-ea"/>
          <a:cs typeface="+mn-cs"/>
        </a:defRPr>
      </a:lvl6pPr>
      <a:lvl7pPr marL="2742309" algn="l" defTabSz="914104" rtl="0" eaLnBrk="1" latinLnBrk="0" hangingPunct="1">
        <a:defRPr sz="1799" kern="1200">
          <a:solidFill>
            <a:schemeClr val="tx1"/>
          </a:solidFill>
          <a:latin typeface="+mn-lt"/>
          <a:ea typeface="+mn-ea"/>
          <a:cs typeface="+mn-cs"/>
        </a:defRPr>
      </a:lvl7pPr>
      <a:lvl8pPr marL="3199360" algn="l" defTabSz="914104" rtl="0" eaLnBrk="1" latinLnBrk="0" hangingPunct="1">
        <a:defRPr sz="1799" kern="1200">
          <a:solidFill>
            <a:schemeClr val="tx1"/>
          </a:solidFill>
          <a:latin typeface="+mn-lt"/>
          <a:ea typeface="+mn-ea"/>
          <a:cs typeface="+mn-cs"/>
        </a:defRPr>
      </a:lvl8pPr>
      <a:lvl9pPr marL="3656411" algn="l" defTabSz="914104"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2190.png"/><Relationship Id="rId13" Type="http://schemas.openxmlformats.org/officeDocument/2006/relationships/customXml" Target="../ink/ink245.xml"/><Relationship Id="rId18" Type="http://schemas.openxmlformats.org/officeDocument/2006/relationships/image" Target="../media/image2240.png"/><Relationship Id="rId3" Type="http://schemas.openxmlformats.org/officeDocument/2006/relationships/customXml" Target="../ink/ink240.xml"/><Relationship Id="rId21" Type="http://schemas.openxmlformats.org/officeDocument/2006/relationships/customXml" Target="../ink/ink249.xml"/><Relationship Id="rId7" Type="http://schemas.openxmlformats.org/officeDocument/2006/relationships/customXml" Target="../ink/ink242.xml"/><Relationship Id="rId12" Type="http://schemas.openxmlformats.org/officeDocument/2006/relationships/image" Target="../media/image2210.png"/><Relationship Id="rId17" Type="http://schemas.openxmlformats.org/officeDocument/2006/relationships/customXml" Target="../ink/ink247.xml"/><Relationship Id="rId2" Type="http://schemas.openxmlformats.org/officeDocument/2006/relationships/image" Target="../media/image229.png"/><Relationship Id="rId16" Type="http://schemas.openxmlformats.org/officeDocument/2006/relationships/image" Target="../media/image2230.png"/><Relationship Id="rId20" Type="http://schemas.openxmlformats.org/officeDocument/2006/relationships/image" Target="../media/image2250.png"/><Relationship Id="rId1" Type="http://schemas.openxmlformats.org/officeDocument/2006/relationships/slideLayout" Target="../slideLayouts/slideLayout11.xml"/><Relationship Id="rId6" Type="http://schemas.openxmlformats.org/officeDocument/2006/relationships/image" Target="../media/image2180.png"/><Relationship Id="rId11" Type="http://schemas.openxmlformats.org/officeDocument/2006/relationships/customXml" Target="../ink/ink244.xml"/><Relationship Id="rId24" Type="http://schemas.openxmlformats.org/officeDocument/2006/relationships/image" Target="../media/image2270.png"/><Relationship Id="rId5" Type="http://schemas.openxmlformats.org/officeDocument/2006/relationships/customXml" Target="../ink/ink241.xml"/><Relationship Id="rId15" Type="http://schemas.openxmlformats.org/officeDocument/2006/relationships/customXml" Target="../ink/ink246.xml"/><Relationship Id="rId23" Type="http://schemas.openxmlformats.org/officeDocument/2006/relationships/customXml" Target="../ink/ink250.xml"/><Relationship Id="rId10" Type="http://schemas.openxmlformats.org/officeDocument/2006/relationships/image" Target="../media/image2200.png"/><Relationship Id="rId19" Type="http://schemas.openxmlformats.org/officeDocument/2006/relationships/customXml" Target="../ink/ink248.xml"/><Relationship Id="rId4" Type="http://schemas.openxmlformats.org/officeDocument/2006/relationships/image" Target="../media/image2170.png"/><Relationship Id="rId9" Type="http://schemas.openxmlformats.org/officeDocument/2006/relationships/customXml" Target="../ink/ink243.xml"/><Relationship Id="rId14" Type="http://schemas.openxmlformats.org/officeDocument/2006/relationships/image" Target="../media/image2220.png"/><Relationship Id="rId22" Type="http://schemas.openxmlformats.org/officeDocument/2006/relationships/image" Target="../media/image2260.png"/></Relationships>
</file>

<file path=ppt/slides/_rels/slide11.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1.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image" Target="../media/image231.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openxmlformats.org/officeDocument/2006/relationships/image" Target="../media/image235.png"/><Relationship Id="rId13" Type="http://schemas.openxmlformats.org/officeDocument/2006/relationships/customXml" Target="../ink/ink256.xml"/><Relationship Id="rId18" Type="http://schemas.openxmlformats.org/officeDocument/2006/relationships/image" Target="../media/image239.png"/><Relationship Id="rId26" Type="http://schemas.openxmlformats.org/officeDocument/2006/relationships/image" Target="../media/image243.png"/><Relationship Id="rId3" Type="http://schemas.openxmlformats.org/officeDocument/2006/relationships/customXml" Target="../ink/ink251.xml"/><Relationship Id="rId21" Type="http://schemas.openxmlformats.org/officeDocument/2006/relationships/customXml" Target="../ink/ink260.xml"/><Relationship Id="rId7" Type="http://schemas.openxmlformats.org/officeDocument/2006/relationships/customXml" Target="../ink/ink253.xml"/><Relationship Id="rId12" Type="http://schemas.openxmlformats.org/officeDocument/2006/relationships/image" Target="../media/image237.png"/><Relationship Id="rId17" Type="http://schemas.openxmlformats.org/officeDocument/2006/relationships/customXml" Target="../ink/ink258.xml"/><Relationship Id="rId25" Type="http://schemas.openxmlformats.org/officeDocument/2006/relationships/customXml" Target="../ink/ink262.xml"/><Relationship Id="rId2" Type="http://schemas.openxmlformats.org/officeDocument/2006/relationships/image" Target="../media/image234.png"/><Relationship Id="rId16" Type="http://schemas.openxmlformats.org/officeDocument/2006/relationships/image" Target="../media/image238.png"/><Relationship Id="rId20" Type="http://schemas.openxmlformats.org/officeDocument/2006/relationships/image" Target="../media/image240.png"/><Relationship Id="rId1" Type="http://schemas.openxmlformats.org/officeDocument/2006/relationships/slideLayout" Target="../slideLayouts/slideLayout11.xml"/><Relationship Id="rId6" Type="http://schemas.openxmlformats.org/officeDocument/2006/relationships/image" Target="../media/image2340.png"/><Relationship Id="rId11" Type="http://schemas.openxmlformats.org/officeDocument/2006/relationships/customXml" Target="../ink/ink255.xml"/><Relationship Id="rId24" Type="http://schemas.openxmlformats.org/officeDocument/2006/relationships/image" Target="../media/image242.png"/><Relationship Id="rId5" Type="http://schemas.openxmlformats.org/officeDocument/2006/relationships/customXml" Target="../ink/ink252.xml"/><Relationship Id="rId15" Type="http://schemas.openxmlformats.org/officeDocument/2006/relationships/customXml" Target="../ink/ink257.xml"/><Relationship Id="rId23" Type="http://schemas.openxmlformats.org/officeDocument/2006/relationships/customXml" Target="../ink/ink261.xml"/><Relationship Id="rId28" Type="http://schemas.openxmlformats.org/officeDocument/2006/relationships/image" Target="../media/image244.png"/><Relationship Id="rId10" Type="http://schemas.openxmlformats.org/officeDocument/2006/relationships/image" Target="../media/image236.png"/><Relationship Id="rId19" Type="http://schemas.openxmlformats.org/officeDocument/2006/relationships/customXml" Target="../ink/ink259.xml"/><Relationship Id="rId4" Type="http://schemas.openxmlformats.org/officeDocument/2006/relationships/image" Target="../media/image2330.png"/><Relationship Id="rId9" Type="http://schemas.openxmlformats.org/officeDocument/2006/relationships/customXml" Target="../ink/ink254.xml"/><Relationship Id="rId14" Type="http://schemas.openxmlformats.org/officeDocument/2006/relationships/image" Target="../media/image13.png"/><Relationship Id="rId22" Type="http://schemas.openxmlformats.org/officeDocument/2006/relationships/image" Target="../media/image241.png"/><Relationship Id="rId27" Type="http://schemas.openxmlformats.org/officeDocument/2006/relationships/customXml" Target="../ink/ink263.xml"/></Relationships>
</file>

<file path=ppt/slides/_rels/slide15.xml.rels><?xml version="1.0" encoding="UTF-8" standalone="yes"?>
<Relationships xmlns="http://schemas.openxmlformats.org/package/2006/relationships"><Relationship Id="rId2" Type="http://schemas.openxmlformats.org/officeDocument/2006/relationships/image" Target="../media/image245.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customXml" Target="../ink/ink264.xml"/><Relationship Id="rId2" Type="http://schemas.openxmlformats.org/officeDocument/2006/relationships/image" Target="../media/image246.png"/><Relationship Id="rId1" Type="http://schemas.openxmlformats.org/officeDocument/2006/relationships/slideLayout" Target="../slideLayouts/slideLayout10.xml"/><Relationship Id="rId4" Type="http://schemas.openxmlformats.org/officeDocument/2006/relationships/image" Target="../media/image247.png"/></Relationships>
</file>

<file path=ppt/slides/_rels/slide17.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customXml" Target="../ink/ink265.xml"/><Relationship Id="rId2" Type="http://schemas.openxmlformats.org/officeDocument/2006/relationships/image" Target="../media/image249.png"/><Relationship Id="rId1" Type="http://schemas.openxmlformats.org/officeDocument/2006/relationships/slideLayout" Target="../slideLayouts/slideLayout10.xml"/><Relationship Id="rId4" Type="http://schemas.openxmlformats.org/officeDocument/2006/relationships/image" Target="../media/image250.png"/></Relationships>
</file>

<file path=ppt/slides/_rels/slide19.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26" Type="http://schemas.openxmlformats.org/officeDocument/2006/relationships/image" Target="../media/image13.png"/><Relationship Id="rId21" Type="http://schemas.openxmlformats.org/officeDocument/2006/relationships/customXml" Target="../ink/ink275.xml"/><Relationship Id="rId42" Type="http://schemas.openxmlformats.org/officeDocument/2006/relationships/image" Target="../media/image271.png"/><Relationship Id="rId47" Type="http://schemas.openxmlformats.org/officeDocument/2006/relationships/customXml" Target="../ink/ink288.xml"/><Relationship Id="rId63" Type="http://schemas.openxmlformats.org/officeDocument/2006/relationships/customXml" Target="../ink/ink296.xml"/><Relationship Id="rId68" Type="http://schemas.openxmlformats.org/officeDocument/2006/relationships/image" Target="../media/image284.png"/><Relationship Id="rId84" Type="http://schemas.openxmlformats.org/officeDocument/2006/relationships/customXml" Target="../ink/ink307.xml"/><Relationship Id="rId89" Type="http://schemas.openxmlformats.org/officeDocument/2006/relationships/image" Target="../media/image294.png"/><Relationship Id="rId16" Type="http://schemas.openxmlformats.org/officeDocument/2006/relationships/image" Target="../media/image259.png"/><Relationship Id="rId107" Type="http://schemas.openxmlformats.org/officeDocument/2006/relationships/image" Target="../media/image302.png"/><Relationship Id="rId11" Type="http://schemas.openxmlformats.org/officeDocument/2006/relationships/customXml" Target="../ink/ink270.xml"/><Relationship Id="rId32" Type="http://schemas.openxmlformats.org/officeDocument/2006/relationships/image" Target="../media/image266.png"/><Relationship Id="rId37" Type="http://schemas.openxmlformats.org/officeDocument/2006/relationships/customXml" Target="../ink/ink283.xml"/><Relationship Id="rId53" Type="http://schemas.openxmlformats.org/officeDocument/2006/relationships/customXml" Target="../ink/ink291.xml"/><Relationship Id="rId58" Type="http://schemas.openxmlformats.org/officeDocument/2006/relationships/image" Target="../media/image279.png"/><Relationship Id="rId74" Type="http://schemas.openxmlformats.org/officeDocument/2006/relationships/customXml" Target="../ink/ink302.xml"/><Relationship Id="rId79" Type="http://schemas.openxmlformats.org/officeDocument/2006/relationships/image" Target="../media/image289.png"/><Relationship Id="rId102" Type="http://schemas.openxmlformats.org/officeDocument/2006/relationships/customXml" Target="../ink/ink317.xml"/><Relationship Id="rId5" Type="http://schemas.openxmlformats.org/officeDocument/2006/relationships/customXml" Target="../ink/ink267.xml"/><Relationship Id="rId90" Type="http://schemas.openxmlformats.org/officeDocument/2006/relationships/customXml" Target="../ink/ink310.xml"/><Relationship Id="rId95" Type="http://schemas.openxmlformats.org/officeDocument/2006/relationships/customXml" Target="../ink/ink313.xml"/><Relationship Id="rId22" Type="http://schemas.openxmlformats.org/officeDocument/2006/relationships/image" Target="../media/image262.png"/><Relationship Id="rId27" Type="http://schemas.openxmlformats.org/officeDocument/2006/relationships/customXml" Target="../ink/ink278.xml"/><Relationship Id="rId43" Type="http://schemas.openxmlformats.org/officeDocument/2006/relationships/customXml" Target="../ink/ink286.xml"/><Relationship Id="rId48" Type="http://schemas.openxmlformats.org/officeDocument/2006/relationships/image" Target="../media/image274.png"/><Relationship Id="rId64" Type="http://schemas.openxmlformats.org/officeDocument/2006/relationships/image" Target="../media/image282.png"/><Relationship Id="rId69" Type="http://schemas.openxmlformats.org/officeDocument/2006/relationships/customXml" Target="../ink/ink299.xml"/><Relationship Id="rId80" Type="http://schemas.openxmlformats.org/officeDocument/2006/relationships/customXml" Target="../ink/ink305.xml"/><Relationship Id="rId85" Type="http://schemas.openxmlformats.org/officeDocument/2006/relationships/image" Target="../media/image292.png"/><Relationship Id="rId12" Type="http://schemas.openxmlformats.org/officeDocument/2006/relationships/image" Target="../media/image257.png"/><Relationship Id="rId17" Type="http://schemas.openxmlformats.org/officeDocument/2006/relationships/customXml" Target="../ink/ink273.xml"/><Relationship Id="rId33" Type="http://schemas.openxmlformats.org/officeDocument/2006/relationships/customXml" Target="../ink/ink281.xml"/><Relationship Id="rId38" Type="http://schemas.openxmlformats.org/officeDocument/2006/relationships/image" Target="../media/image269.png"/><Relationship Id="rId59" Type="http://schemas.openxmlformats.org/officeDocument/2006/relationships/customXml" Target="../ink/ink294.xml"/><Relationship Id="rId103" Type="http://schemas.openxmlformats.org/officeDocument/2006/relationships/image" Target="../media/image300.png"/><Relationship Id="rId108" Type="http://schemas.openxmlformats.org/officeDocument/2006/relationships/customXml" Target="../ink/ink320.xml"/><Relationship Id="rId54" Type="http://schemas.openxmlformats.org/officeDocument/2006/relationships/image" Target="../media/image277.png"/><Relationship Id="rId70" Type="http://schemas.openxmlformats.org/officeDocument/2006/relationships/customXml" Target="../ink/ink300.xml"/><Relationship Id="rId75" Type="http://schemas.openxmlformats.org/officeDocument/2006/relationships/image" Target="../media/image287.png"/><Relationship Id="rId91" Type="http://schemas.openxmlformats.org/officeDocument/2006/relationships/customXml" Target="../ink/ink311.xml"/><Relationship Id="rId96" Type="http://schemas.openxmlformats.org/officeDocument/2006/relationships/image" Target="../media/image297.png"/><Relationship Id="rId1" Type="http://schemas.openxmlformats.org/officeDocument/2006/relationships/slideLayout" Target="../slideLayouts/slideLayout11.xml"/><Relationship Id="rId6" Type="http://schemas.openxmlformats.org/officeDocument/2006/relationships/image" Target="../media/image254.png"/><Relationship Id="rId15" Type="http://schemas.openxmlformats.org/officeDocument/2006/relationships/customXml" Target="../ink/ink272.xml"/><Relationship Id="rId23" Type="http://schemas.openxmlformats.org/officeDocument/2006/relationships/customXml" Target="../ink/ink276.xml"/><Relationship Id="rId28" Type="http://schemas.openxmlformats.org/officeDocument/2006/relationships/image" Target="../media/image264.png"/><Relationship Id="rId36" Type="http://schemas.openxmlformats.org/officeDocument/2006/relationships/image" Target="../media/image268.png"/><Relationship Id="rId49" Type="http://schemas.openxmlformats.org/officeDocument/2006/relationships/customXml" Target="../ink/ink289.xml"/><Relationship Id="rId57" Type="http://schemas.openxmlformats.org/officeDocument/2006/relationships/customXml" Target="../ink/ink293.xml"/><Relationship Id="rId106" Type="http://schemas.openxmlformats.org/officeDocument/2006/relationships/customXml" Target="../ink/ink319.xml"/><Relationship Id="rId10" Type="http://schemas.openxmlformats.org/officeDocument/2006/relationships/image" Target="../media/image256.png"/><Relationship Id="rId31" Type="http://schemas.openxmlformats.org/officeDocument/2006/relationships/customXml" Target="../ink/ink280.xml"/><Relationship Id="rId44" Type="http://schemas.openxmlformats.org/officeDocument/2006/relationships/image" Target="../media/image272.png"/><Relationship Id="rId52" Type="http://schemas.openxmlformats.org/officeDocument/2006/relationships/image" Target="../media/image276.png"/><Relationship Id="rId60" Type="http://schemas.openxmlformats.org/officeDocument/2006/relationships/image" Target="../media/image280.png"/><Relationship Id="rId65" Type="http://schemas.openxmlformats.org/officeDocument/2006/relationships/customXml" Target="../ink/ink297.xml"/><Relationship Id="rId73" Type="http://schemas.openxmlformats.org/officeDocument/2006/relationships/image" Target="../media/image286.png"/><Relationship Id="rId78" Type="http://schemas.openxmlformats.org/officeDocument/2006/relationships/customXml" Target="../ink/ink304.xml"/><Relationship Id="rId81" Type="http://schemas.openxmlformats.org/officeDocument/2006/relationships/image" Target="../media/image290.png"/><Relationship Id="rId86" Type="http://schemas.openxmlformats.org/officeDocument/2006/relationships/customXml" Target="../ink/ink308.xml"/><Relationship Id="rId94" Type="http://schemas.openxmlformats.org/officeDocument/2006/relationships/image" Target="../media/image296.png"/><Relationship Id="rId99" Type="http://schemas.openxmlformats.org/officeDocument/2006/relationships/image" Target="../media/image298.png"/><Relationship Id="rId101" Type="http://schemas.openxmlformats.org/officeDocument/2006/relationships/image" Target="../media/image299.png"/><Relationship Id="rId4" Type="http://schemas.openxmlformats.org/officeDocument/2006/relationships/image" Target="../media/image253.png"/><Relationship Id="rId9" Type="http://schemas.openxmlformats.org/officeDocument/2006/relationships/customXml" Target="../ink/ink269.xml"/><Relationship Id="rId13" Type="http://schemas.openxmlformats.org/officeDocument/2006/relationships/customXml" Target="../ink/ink271.xml"/><Relationship Id="rId18" Type="http://schemas.openxmlformats.org/officeDocument/2006/relationships/image" Target="../media/image260.png"/><Relationship Id="rId39" Type="http://schemas.openxmlformats.org/officeDocument/2006/relationships/customXml" Target="../ink/ink284.xml"/><Relationship Id="rId109" Type="http://schemas.openxmlformats.org/officeDocument/2006/relationships/image" Target="../media/image303.png"/><Relationship Id="rId34" Type="http://schemas.openxmlformats.org/officeDocument/2006/relationships/image" Target="../media/image267.png"/><Relationship Id="rId50" Type="http://schemas.openxmlformats.org/officeDocument/2006/relationships/image" Target="../media/image275.png"/><Relationship Id="rId55" Type="http://schemas.openxmlformats.org/officeDocument/2006/relationships/customXml" Target="../ink/ink292.xml"/><Relationship Id="rId76" Type="http://schemas.openxmlformats.org/officeDocument/2006/relationships/customXml" Target="../ink/ink303.xml"/><Relationship Id="rId97" Type="http://schemas.openxmlformats.org/officeDocument/2006/relationships/customXml" Target="../ink/ink314.xml"/><Relationship Id="rId104" Type="http://schemas.openxmlformats.org/officeDocument/2006/relationships/customXml" Target="../ink/ink318.xml"/><Relationship Id="rId7" Type="http://schemas.openxmlformats.org/officeDocument/2006/relationships/customXml" Target="../ink/ink268.xml"/><Relationship Id="rId71" Type="http://schemas.openxmlformats.org/officeDocument/2006/relationships/image" Target="../media/image285.png"/><Relationship Id="rId92" Type="http://schemas.openxmlformats.org/officeDocument/2006/relationships/image" Target="../media/image295.png"/><Relationship Id="rId2" Type="http://schemas.openxmlformats.org/officeDocument/2006/relationships/image" Target="../media/image252.png"/><Relationship Id="rId29" Type="http://schemas.openxmlformats.org/officeDocument/2006/relationships/customXml" Target="../ink/ink279.xml"/><Relationship Id="rId24" Type="http://schemas.openxmlformats.org/officeDocument/2006/relationships/image" Target="../media/image263.png"/><Relationship Id="rId40" Type="http://schemas.openxmlformats.org/officeDocument/2006/relationships/image" Target="../media/image270.png"/><Relationship Id="rId45" Type="http://schemas.openxmlformats.org/officeDocument/2006/relationships/customXml" Target="../ink/ink287.xml"/><Relationship Id="rId66" Type="http://schemas.openxmlformats.org/officeDocument/2006/relationships/image" Target="../media/image283.png"/><Relationship Id="rId87" Type="http://schemas.openxmlformats.org/officeDocument/2006/relationships/image" Target="../media/image293.png"/><Relationship Id="rId61" Type="http://schemas.openxmlformats.org/officeDocument/2006/relationships/customXml" Target="../ink/ink295.xml"/><Relationship Id="rId82" Type="http://schemas.openxmlformats.org/officeDocument/2006/relationships/customXml" Target="../ink/ink306.xml"/><Relationship Id="rId19" Type="http://schemas.openxmlformats.org/officeDocument/2006/relationships/customXml" Target="../ink/ink274.xml"/><Relationship Id="rId14" Type="http://schemas.openxmlformats.org/officeDocument/2006/relationships/image" Target="../media/image258.png"/><Relationship Id="rId30" Type="http://schemas.openxmlformats.org/officeDocument/2006/relationships/image" Target="../media/image265.png"/><Relationship Id="rId35" Type="http://schemas.openxmlformats.org/officeDocument/2006/relationships/customXml" Target="../ink/ink282.xml"/><Relationship Id="rId56" Type="http://schemas.openxmlformats.org/officeDocument/2006/relationships/image" Target="../media/image278.png"/><Relationship Id="rId77" Type="http://schemas.openxmlformats.org/officeDocument/2006/relationships/image" Target="../media/image288.png"/><Relationship Id="rId100" Type="http://schemas.openxmlformats.org/officeDocument/2006/relationships/customXml" Target="../ink/ink316.xml"/><Relationship Id="rId105" Type="http://schemas.openxmlformats.org/officeDocument/2006/relationships/image" Target="../media/image301.png"/><Relationship Id="rId8" Type="http://schemas.openxmlformats.org/officeDocument/2006/relationships/image" Target="../media/image255.png"/><Relationship Id="rId51" Type="http://schemas.openxmlformats.org/officeDocument/2006/relationships/customXml" Target="../ink/ink290.xml"/><Relationship Id="rId72" Type="http://schemas.openxmlformats.org/officeDocument/2006/relationships/customXml" Target="../ink/ink301.xml"/><Relationship Id="rId93" Type="http://schemas.openxmlformats.org/officeDocument/2006/relationships/customXml" Target="../ink/ink312.xml"/><Relationship Id="rId98" Type="http://schemas.openxmlformats.org/officeDocument/2006/relationships/customXml" Target="../ink/ink315.xml"/><Relationship Id="rId3" Type="http://schemas.openxmlformats.org/officeDocument/2006/relationships/customXml" Target="../ink/ink266.xml"/><Relationship Id="rId25" Type="http://schemas.openxmlformats.org/officeDocument/2006/relationships/customXml" Target="../ink/ink277.xml"/><Relationship Id="rId46" Type="http://schemas.openxmlformats.org/officeDocument/2006/relationships/image" Target="../media/image273.png"/><Relationship Id="rId67" Type="http://schemas.openxmlformats.org/officeDocument/2006/relationships/customXml" Target="../ink/ink298.xml"/><Relationship Id="rId20" Type="http://schemas.openxmlformats.org/officeDocument/2006/relationships/image" Target="../media/image261.png"/><Relationship Id="rId41" Type="http://schemas.openxmlformats.org/officeDocument/2006/relationships/customXml" Target="../ink/ink285.xml"/><Relationship Id="rId62" Type="http://schemas.openxmlformats.org/officeDocument/2006/relationships/image" Target="../media/image281.png"/><Relationship Id="rId83" Type="http://schemas.openxmlformats.org/officeDocument/2006/relationships/image" Target="../media/image291.png"/><Relationship Id="rId88" Type="http://schemas.openxmlformats.org/officeDocument/2006/relationships/customXml" Target="../ink/ink309.xml"/></Relationships>
</file>

<file path=ppt/slides/_rels/slide21.xml.rels><?xml version="1.0" encoding="UTF-8" standalone="yes"?>
<Relationships xmlns="http://schemas.openxmlformats.org/package/2006/relationships"><Relationship Id="rId26" Type="http://schemas.openxmlformats.org/officeDocument/2006/relationships/image" Target="../media/image2780.png"/><Relationship Id="rId21" Type="http://schemas.openxmlformats.org/officeDocument/2006/relationships/customXml" Target="../ink/ink330.xml"/><Relationship Id="rId42" Type="http://schemas.openxmlformats.org/officeDocument/2006/relationships/image" Target="../media/image2860.png"/><Relationship Id="rId47" Type="http://schemas.openxmlformats.org/officeDocument/2006/relationships/customXml" Target="../ink/ink343.xml"/><Relationship Id="rId63" Type="http://schemas.openxmlformats.org/officeDocument/2006/relationships/customXml" Target="../ink/ink351.xml"/><Relationship Id="rId68" Type="http://schemas.openxmlformats.org/officeDocument/2006/relationships/image" Target="../media/image2980.png"/><Relationship Id="rId7" Type="http://schemas.openxmlformats.org/officeDocument/2006/relationships/customXml" Target="../ink/ink323.xml"/><Relationship Id="rId2" Type="http://schemas.openxmlformats.org/officeDocument/2006/relationships/image" Target="../media/image304.png"/><Relationship Id="rId16" Type="http://schemas.openxmlformats.org/officeDocument/2006/relationships/image" Target="../media/image2730.png"/><Relationship Id="rId29" Type="http://schemas.openxmlformats.org/officeDocument/2006/relationships/customXml" Target="../ink/ink334.xml"/><Relationship Id="rId11" Type="http://schemas.openxmlformats.org/officeDocument/2006/relationships/customXml" Target="../ink/ink325.xml"/><Relationship Id="rId24" Type="http://schemas.openxmlformats.org/officeDocument/2006/relationships/image" Target="../media/image2770.png"/><Relationship Id="rId32" Type="http://schemas.openxmlformats.org/officeDocument/2006/relationships/image" Target="../media/image2810.png"/><Relationship Id="rId37" Type="http://schemas.openxmlformats.org/officeDocument/2006/relationships/customXml" Target="../ink/ink338.xml"/><Relationship Id="rId40" Type="http://schemas.openxmlformats.org/officeDocument/2006/relationships/image" Target="../media/image2850.png"/><Relationship Id="rId45" Type="http://schemas.openxmlformats.org/officeDocument/2006/relationships/customXml" Target="../ink/ink342.xml"/><Relationship Id="rId53" Type="http://schemas.openxmlformats.org/officeDocument/2006/relationships/customXml" Target="../ink/ink346.xml"/><Relationship Id="rId58" Type="http://schemas.openxmlformats.org/officeDocument/2006/relationships/image" Target="../media/image2940.png"/><Relationship Id="rId66" Type="http://schemas.openxmlformats.org/officeDocument/2006/relationships/image" Target="../media/image115.png"/><Relationship Id="rId5" Type="http://schemas.openxmlformats.org/officeDocument/2006/relationships/customXml" Target="../ink/ink322.xml"/><Relationship Id="rId61" Type="http://schemas.openxmlformats.org/officeDocument/2006/relationships/customXml" Target="../ink/ink350.xml"/><Relationship Id="rId19" Type="http://schemas.openxmlformats.org/officeDocument/2006/relationships/customXml" Target="../ink/ink329.xml"/><Relationship Id="rId14" Type="http://schemas.openxmlformats.org/officeDocument/2006/relationships/image" Target="../media/image2720.png"/><Relationship Id="rId22" Type="http://schemas.openxmlformats.org/officeDocument/2006/relationships/image" Target="../media/image2760.png"/><Relationship Id="rId27" Type="http://schemas.openxmlformats.org/officeDocument/2006/relationships/customXml" Target="../ink/ink333.xml"/><Relationship Id="rId30" Type="http://schemas.openxmlformats.org/officeDocument/2006/relationships/image" Target="../media/image2800.png"/><Relationship Id="rId35" Type="http://schemas.openxmlformats.org/officeDocument/2006/relationships/customXml" Target="../ink/ink337.xml"/><Relationship Id="rId43" Type="http://schemas.openxmlformats.org/officeDocument/2006/relationships/customXml" Target="../ink/ink341.xml"/><Relationship Id="rId48" Type="http://schemas.openxmlformats.org/officeDocument/2006/relationships/image" Target="../media/image2890.png"/><Relationship Id="rId56" Type="http://schemas.openxmlformats.org/officeDocument/2006/relationships/image" Target="../media/image2930.png"/><Relationship Id="rId64" Type="http://schemas.openxmlformats.org/officeDocument/2006/relationships/image" Target="../media/image2970.png"/><Relationship Id="rId69" Type="http://schemas.openxmlformats.org/officeDocument/2006/relationships/customXml" Target="../ink/ink354.xml"/><Relationship Id="rId8" Type="http://schemas.openxmlformats.org/officeDocument/2006/relationships/image" Target="../media/image2690.png"/><Relationship Id="rId51" Type="http://schemas.openxmlformats.org/officeDocument/2006/relationships/customXml" Target="../ink/ink345.xml"/><Relationship Id="rId3" Type="http://schemas.openxmlformats.org/officeDocument/2006/relationships/customXml" Target="../ink/ink321.xml"/><Relationship Id="rId12" Type="http://schemas.openxmlformats.org/officeDocument/2006/relationships/image" Target="../media/image2710.png"/><Relationship Id="rId17" Type="http://schemas.openxmlformats.org/officeDocument/2006/relationships/customXml" Target="../ink/ink328.xml"/><Relationship Id="rId25" Type="http://schemas.openxmlformats.org/officeDocument/2006/relationships/customXml" Target="../ink/ink332.xml"/><Relationship Id="rId33" Type="http://schemas.openxmlformats.org/officeDocument/2006/relationships/customXml" Target="../ink/ink336.xml"/><Relationship Id="rId38" Type="http://schemas.openxmlformats.org/officeDocument/2006/relationships/image" Target="../media/image2840.png"/><Relationship Id="rId46" Type="http://schemas.openxmlformats.org/officeDocument/2006/relationships/image" Target="../media/image2880.png"/><Relationship Id="rId59" Type="http://schemas.openxmlformats.org/officeDocument/2006/relationships/customXml" Target="../ink/ink349.xml"/><Relationship Id="rId67" Type="http://schemas.openxmlformats.org/officeDocument/2006/relationships/customXml" Target="../ink/ink353.xml"/><Relationship Id="rId20" Type="http://schemas.openxmlformats.org/officeDocument/2006/relationships/image" Target="../media/image2750.png"/><Relationship Id="rId41" Type="http://schemas.openxmlformats.org/officeDocument/2006/relationships/customXml" Target="../ink/ink340.xml"/><Relationship Id="rId54" Type="http://schemas.openxmlformats.org/officeDocument/2006/relationships/image" Target="../media/image2920.png"/><Relationship Id="rId62" Type="http://schemas.openxmlformats.org/officeDocument/2006/relationships/image" Target="../media/image2960.png"/><Relationship Id="rId70" Type="http://schemas.openxmlformats.org/officeDocument/2006/relationships/image" Target="../media/image2990.png"/><Relationship Id="rId1" Type="http://schemas.openxmlformats.org/officeDocument/2006/relationships/slideLayout" Target="../slideLayouts/slideLayout10.xml"/><Relationship Id="rId6" Type="http://schemas.openxmlformats.org/officeDocument/2006/relationships/image" Target="../media/image2680.png"/><Relationship Id="rId15" Type="http://schemas.openxmlformats.org/officeDocument/2006/relationships/customXml" Target="../ink/ink327.xml"/><Relationship Id="rId23" Type="http://schemas.openxmlformats.org/officeDocument/2006/relationships/customXml" Target="../ink/ink331.xml"/><Relationship Id="rId28" Type="http://schemas.openxmlformats.org/officeDocument/2006/relationships/image" Target="../media/image2790.png"/><Relationship Id="rId36" Type="http://schemas.openxmlformats.org/officeDocument/2006/relationships/image" Target="../media/image2830.png"/><Relationship Id="rId49" Type="http://schemas.openxmlformats.org/officeDocument/2006/relationships/customXml" Target="../ink/ink344.xml"/><Relationship Id="rId57" Type="http://schemas.openxmlformats.org/officeDocument/2006/relationships/customXml" Target="../ink/ink348.xml"/><Relationship Id="rId10" Type="http://schemas.openxmlformats.org/officeDocument/2006/relationships/image" Target="../media/image2700.png"/><Relationship Id="rId31" Type="http://schemas.openxmlformats.org/officeDocument/2006/relationships/customXml" Target="../ink/ink335.xml"/><Relationship Id="rId44" Type="http://schemas.openxmlformats.org/officeDocument/2006/relationships/image" Target="../media/image2870.png"/><Relationship Id="rId52" Type="http://schemas.openxmlformats.org/officeDocument/2006/relationships/image" Target="../media/image2910.png"/><Relationship Id="rId60" Type="http://schemas.openxmlformats.org/officeDocument/2006/relationships/image" Target="../media/image2950.png"/><Relationship Id="rId65" Type="http://schemas.openxmlformats.org/officeDocument/2006/relationships/customXml" Target="../ink/ink352.xml"/><Relationship Id="rId4" Type="http://schemas.openxmlformats.org/officeDocument/2006/relationships/image" Target="../media/image2670.png"/><Relationship Id="rId9" Type="http://schemas.openxmlformats.org/officeDocument/2006/relationships/customXml" Target="../ink/ink324.xml"/><Relationship Id="rId13" Type="http://schemas.openxmlformats.org/officeDocument/2006/relationships/customXml" Target="../ink/ink326.xml"/><Relationship Id="rId18" Type="http://schemas.openxmlformats.org/officeDocument/2006/relationships/image" Target="../media/image2740.png"/><Relationship Id="rId39" Type="http://schemas.openxmlformats.org/officeDocument/2006/relationships/customXml" Target="../ink/ink339.xml"/><Relationship Id="rId34" Type="http://schemas.openxmlformats.org/officeDocument/2006/relationships/image" Target="../media/image2820.png"/><Relationship Id="rId50" Type="http://schemas.openxmlformats.org/officeDocument/2006/relationships/image" Target="../media/image2900.png"/><Relationship Id="rId55" Type="http://schemas.openxmlformats.org/officeDocument/2006/relationships/customXml" Target="../ink/ink347.xml"/></Relationships>
</file>

<file path=ppt/slides/_rels/slide22.xml.rels><?xml version="1.0" encoding="UTF-8" standalone="yes"?>
<Relationships xmlns="http://schemas.openxmlformats.org/package/2006/relationships"><Relationship Id="rId13" Type="http://schemas.openxmlformats.org/officeDocument/2006/relationships/customXml" Target="../ink/ink360.xml"/><Relationship Id="rId18" Type="http://schemas.openxmlformats.org/officeDocument/2006/relationships/image" Target="../media/image308.png"/><Relationship Id="rId26" Type="http://schemas.openxmlformats.org/officeDocument/2006/relationships/image" Target="../media/image312.png"/><Relationship Id="rId39" Type="http://schemas.openxmlformats.org/officeDocument/2006/relationships/customXml" Target="../ink/ink373.xml"/><Relationship Id="rId21" Type="http://schemas.openxmlformats.org/officeDocument/2006/relationships/customXml" Target="../ink/ink364.xml"/><Relationship Id="rId34" Type="http://schemas.openxmlformats.org/officeDocument/2006/relationships/image" Target="../media/image316.png"/><Relationship Id="rId42" Type="http://schemas.openxmlformats.org/officeDocument/2006/relationships/image" Target="../media/image320.png"/><Relationship Id="rId47" Type="http://schemas.openxmlformats.org/officeDocument/2006/relationships/customXml" Target="../ink/ink377.xml"/><Relationship Id="rId7" Type="http://schemas.openxmlformats.org/officeDocument/2006/relationships/customXml" Target="../ink/ink357.xml"/><Relationship Id="rId2" Type="http://schemas.openxmlformats.org/officeDocument/2006/relationships/image" Target="../media/image305.png"/><Relationship Id="rId16" Type="http://schemas.openxmlformats.org/officeDocument/2006/relationships/image" Target="../media/image307.png"/><Relationship Id="rId29" Type="http://schemas.openxmlformats.org/officeDocument/2006/relationships/customXml" Target="../ink/ink368.xml"/><Relationship Id="rId1" Type="http://schemas.openxmlformats.org/officeDocument/2006/relationships/slideLayout" Target="../slideLayouts/slideLayout11.xml"/><Relationship Id="rId6" Type="http://schemas.openxmlformats.org/officeDocument/2006/relationships/image" Target="../media/image3020.png"/><Relationship Id="rId11" Type="http://schemas.openxmlformats.org/officeDocument/2006/relationships/customXml" Target="../ink/ink359.xml"/><Relationship Id="rId24" Type="http://schemas.openxmlformats.org/officeDocument/2006/relationships/image" Target="../media/image311.png"/><Relationship Id="rId32" Type="http://schemas.openxmlformats.org/officeDocument/2006/relationships/image" Target="../media/image315.png"/><Relationship Id="rId37" Type="http://schemas.openxmlformats.org/officeDocument/2006/relationships/customXml" Target="../ink/ink372.xml"/><Relationship Id="rId40" Type="http://schemas.openxmlformats.org/officeDocument/2006/relationships/image" Target="../media/image319.png"/><Relationship Id="rId45" Type="http://schemas.openxmlformats.org/officeDocument/2006/relationships/customXml" Target="../ink/ink376.xml"/><Relationship Id="rId5" Type="http://schemas.openxmlformats.org/officeDocument/2006/relationships/customXml" Target="../ink/ink356.xml"/><Relationship Id="rId15" Type="http://schemas.openxmlformats.org/officeDocument/2006/relationships/customXml" Target="../ink/ink361.xml"/><Relationship Id="rId23" Type="http://schemas.openxmlformats.org/officeDocument/2006/relationships/customXml" Target="../ink/ink365.xml"/><Relationship Id="rId28" Type="http://schemas.openxmlformats.org/officeDocument/2006/relationships/image" Target="../media/image313.png"/><Relationship Id="rId36" Type="http://schemas.openxmlformats.org/officeDocument/2006/relationships/image" Target="../media/image317.png"/><Relationship Id="rId10" Type="http://schemas.openxmlformats.org/officeDocument/2006/relationships/image" Target="../media/image3040.png"/><Relationship Id="rId19" Type="http://schemas.openxmlformats.org/officeDocument/2006/relationships/customXml" Target="../ink/ink363.xml"/><Relationship Id="rId31" Type="http://schemas.openxmlformats.org/officeDocument/2006/relationships/customXml" Target="../ink/ink369.xml"/><Relationship Id="rId44" Type="http://schemas.openxmlformats.org/officeDocument/2006/relationships/image" Target="../media/image321.png"/><Relationship Id="rId4" Type="http://schemas.openxmlformats.org/officeDocument/2006/relationships/image" Target="../media/image3010.png"/><Relationship Id="rId9" Type="http://schemas.openxmlformats.org/officeDocument/2006/relationships/customXml" Target="../ink/ink358.xml"/><Relationship Id="rId14" Type="http://schemas.openxmlformats.org/officeDocument/2006/relationships/image" Target="../media/image306.png"/><Relationship Id="rId22" Type="http://schemas.openxmlformats.org/officeDocument/2006/relationships/image" Target="../media/image310.png"/><Relationship Id="rId27" Type="http://schemas.openxmlformats.org/officeDocument/2006/relationships/customXml" Target="../ink/ink367.xml"/><Relationship Id="rId30" Type="http://schemas.openxmlformats.org/officeDocument/2006/relationships/image" Target="../media/image314.png"/><Relationship Id="rId35" Type="http://schemas.openxmlformats.org/officeDocument/2006/relationships/customXml" Target="../ink/ink371.xml"/><Relationship Id="rId43" Type="http://schemas.openxmlformats.org/officeDocument/2006/relationships/customXml" Target="../ink/ink375.xml"/><Relationship Id="rId48" Type="http://schemas.openxmlformats.org/officeDocument/2006/relationships/image" Target="../media/image323.png"/><Relationship Id="rId8" Type="http://schemas.openxmlformats.org/officeDocument/2006/relationships/image" Target="../media/image3030.png"/><Relationship Id="rId3" Type="http://schemas.openxmlformats.org/officeDocument/2006/relationships/customXml" Target="../ink/ink355.xml"/><Relationship Id="rId12" Type="http://schemas.openxmlformats.org/officeDocument/2006/relationships/image" Target="../media/image3050.png"/><Relationship Id="rId17" Type="http://schemas.openxmlformats.org/officeDocument/2006/relationships/customXml" Target="../ink/ink362.xml"/><Relationship Id="rId25" Type="http://schemas.openxmlformats.org/officeDocument/2006/relationships/customXml" Target="../ink/ink366.xml"/><Relationship Id="rId33" Type="http://schemas.openxmlformats.org/officeDocument/2006/relationships/customXml" Target="../ink/ink370.xml"/><Relationship Id="rId38" Type="http://schemas.openxmlformats.org/officeDocument/2006/relationships/image" Target="../media/image318.png"/><Relationship Id="rId46" Type="http://schemas.openxmlformats.org/officeDocument/2006/relationships/image" Target="../media/image322.png"/><Relationship Id="rId20" Type="http://schemas.openxmlformats.org/officeDocument/2006/relationships/image" Target="../media/image309.png"/><Relationship Id="rId41" Type="http://schemas.openxmlformats.org/officeDocument/2006/relationships/customXml" Target="../ink/ink374.xml"/></Relationships>
</file>

<file path=ppt/slides/_rels/slide23.xml.rels><?xml version="1.0" encoding="UTF-8" standalone="yes"?>
<Relationships xmlns="http://schemas.openxmlformats.org/package/2006/relationships"><Relationship Id="rId2" Type="http://schemas.openxmlformats.org/officeDocument/2006/relationships/image" Target="../media/image324.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customXml" Target="../ink/ink37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customXml" Target="../ink/ink379.xml"/><Relationship Id="rId1" Type="http://schemas.openxmlformats.org/officeDocument/2006/relationships/slideLayout" Target="../slideLayouts/slideLayout7.xml"/><Relationship Id="rId5" Type="http://schemas.openxmlformats.org/officeDocument/2006/relationships/image" Target="../media/image327.png"/><Relationship Id="rId4" Type="http://schemas.openxmlformats.org/officeDocument/2006/relationships/customXml" Target="../ink/ink38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17" Type="http://schemas.openxmlformats.org/officeDocument/2006/relationships/customXml" Target="../ink/ink60.xml"/><Relationship Id="rId299" Type="http://schemas.openxmlformats.org/officeDocument/2006/relationships/image" Target="../media/image155.png"/><Relationship Id="rId21" Type="http://schemas.openxmlformats.org/officeDocument/2006/relationships/customXml" Target="../ink/ink11.xml"/><Relationship Id="rId63" Type="http://schemas.openxmlformats.org/officeDocument/2006/relationships/customXml" Target="../ink/ink33.xml"/><Relationship Id="rId159" Type="http://schemas.openxmlformats.org/officeDocument/2006/relationships/customXml" Target="../ink/ink81.xml"/><Relationship Id="rId324" Type="http://schemas.openxmlformats.org/officeDocument/2006/relationships/customXml" Target="../ink/ink164.xml"/><Relationship Id="rId170" Type="http://schemas.openxmlformats.org/officeDocument/2006/relationships/image" Target="../media/image91.png"/><Relationship Id="rId226" Type="http://schemas.openxmlformats.org/officeDocument/2006/relationships/image" Target="../media/image119.png"/><Relationship Id="rId268" Type="http://schemas.openxmlformats.org/officeDocument/2006/relationships/customXml" Target="../ink/ink136.xml"/><Relationship Id="rId32" Type="http://schemas.openxmlformats.org/officeDocument/2006/relationships/image" Target="../media/image23.png"/><Relationship Id="rId74" Type="http://schemas.openxmlformats.org/officeDocument/2006/relationships/image" Target="../media/image43.png"/><Relationship Id="rId128" Type="http://schemas.openxmlformats.org/officeDocument/2006/relationships/image" Target="../media/image70.png"/><Relationship Id="rId335" Type="http://schemas.openxmlformats.org/officeDocument/2006/relationships/image" Target="../media/image173.png"/><Relationship Id="rId5" Type="http://schemas.openxmlformats.org/officeDocument/2006/relationships/customXml" Target="../ink/ink3.xml"/><Relationship Id="rId181" Type="http://schemas.openxmlformats.org/officeDocument/2006/relationships/customXml" Target="../ink/ink92.xml"/><Relationship Id="rId237" Type="http://schemas.openxmlformats.org/officeDocument/2006/relationships/customXml" Target="../ink/ink120.xml"/><Relationship Id="rId279" Type="http://schemas.openxmlformats.org/officeDocument/2006/relationships/image" Target="../media/image145.png"/><Relationship Id="rId43" Type="http://schemas.openxmlformats.org/officeDocument/2006/relationships/customXml" Target="../ink/ink22.xml"/><Relationship Id="rId139" Type="http://schemas.openxmlformats.org/officeDocument/2006/relationships/customXml" Target="../ink/ink71.xml"/><Relationship Id="rId290" Type="http://schemas.openxmlformats.org/officeDocument/2006/relationships/customXml" Target="../ink/ink147.xml"/><Relationship Id="rId304" Type="http://schemas.openxmlformats.org/officeDocument/2006/relationships/customXml" Target="../ink/ink154.xml"/><Relationship Id="rId85" Type="http://schemas.openxmlformats.org/officeDocument/2006/relationships/customXml" Target="../ink/ink44.xml"/><Relationship Id="rId150" Type="http://schemas.openxmlformats.org/officeDocument/2006/relationships/image" Target="../media/image81.png"/><Relationship Id="rId192" Type="http://schemas.openxmlformats.org/officeDocument/2006/relationships/image" Target="../media/image102.png"/><Relationship Id="rId206" Type="http://schemas.openxmlformats.org/officeDocument/2006/relationships/image" Target="../media/image109.png"/><Relationship Id="rId248" Type="http://schemas.openxmlformats.org/officeDocument/2006/relationships/customXml" Target="../ink/ink126.xml"/><Relationship Id="rId12" Type="http://schemas.openxmlformats.org/officeDocument/2006/relationships/image" Target="../media/image13.png"/><Relationship Id="rId108" Type="http://schemas.openxmlformats.org/officeDocument/2006/relationships/image" Target="../media/image60.png"/><Relationship Id="rId315" Type="http://schemas.openxmlformats.org/officeDocument/2006/relationships/image" Target="../media/image163.png"/><Relationship Id="rId54" Type="http://schemas.openxmlformats.org/officeDocument/2006/relationships/image" Target="../media/image33.png"/><Relationship Id="rId96" Type="http://schemas.openxmlformats.org/officeDocument/2006/relationships/image" Target="../media/image54.png"/><Relationship Id="rId161" Type="http://schemas.openxmlformats.org/officeDocument/2006/relationships/customXml" Target="../ink/ink82.xml"/><Relationship Id="rId217" Type="http://schemas.openxmlformats.org/officeDocument/2006/relationships/customXml" Target="../ink/ink110.xml"/><Relationship Id="rId259" Type="http://schemas.openxmlformats.org/officeDocument/2006/relationships/image" Target="../media/image135.png"/><Relationship Id="rId23" Type="http://schemas.openxmlformats.org/officeDocument/2006/relationships/customXml" Target="../ink/ink12.xml"/><Relationship Id="rId119" Type="http://schemas.openxmlformats.org/officeDocument/2006/relationships/customXml" Target="../ink/ink61.xml"/><Relationship Id="rId270" Type="http://schemas.openxmlformats.org/officeDocument/2006/relationships/customXml" Target="../ink/ink137.xml"/><Relationship Id="rId326" Type="http://schemas.openxmlformats.org/officeDocument/2006/relationships/customXml" Target="../ink/ink165.xml"/><Relationship Id="rId65" Type="http://schemas.openxmlformats.org/officeDocument/2006/relationships/customXml" Target="../ink/ink34.xml"/><Relationship Id="rId130" Type="http://schemas.openxmlformats.org/officeDocument/2006/relationships/image" Target="../media/image71.png"/><Relationship Id="rId172" Type="http://schemas.openxmlformats.org/officeDocument/2006/relationships/image" Target="../media/image92.png"/><Relationship Id="rId228" Type="http://schemas.openxmlformats.org/officeDocument/2006/relationships/image" Target="../media/image120.png"/><Relationship Id="rId281" Type="http://schemas.openxmlformats.org/officeDocument/2006/relationships/image" Target="../media/image146.png"/><Relationship Id="rId337" Type="http://schemas.openxmlformats.org/officeDocument/2006/relationships/image" Target="../media/image174.png"/><Relationship Id="rId34" Type="http://schemas.openxmlformats.org/officeDocument/2006/relationships/image" Target="../media/image24.png"/><Relationship Id="rId76" Type="http://schemas.openxmlformats.org/officeDocument/2006/relationships/image" Target="../media/image44.png"/><Relationship Id="rId141" Type="http://schemas.openxmlformats.org/officeDocument/2006/relationships/customXml" Target="../ink/ink72.xml"/><Relationship Id="rId7" Type="http://schemas.openxmlformats.org/officeDocument/2006/relationships/customXml" Target="../ink/ink4.xml"/><Relationship Id="rId183" Type="http://schemas.openxmlformats.org/officeDocument/2006/relationships/customXml" Target="../ink/ink93.xml"/><Relationship Id="rId239" Type="http://schemas.openxmlformats.org/officeDocument/2006/relationships/customXml" Target="../ink/ink121.xml"/><Relationship Id="rId250" Type="http://schemas.openxmlformats.org/officeDocument/2006/relationships/customXml" Target="../ink/ink127.xml"/><Relationship Id="rId292" Type="http://schemas.openxmlformats.org/officeDocument/2006/relationships/customXml" Target="../ink/ink148.xml"/><Relationship Id="rId306" Type="http://schemas.openxmlformats.org/officeDocument/2006/relationships/customXml" Target="../ink/ink155.xml"/><Relationship Id="rId45" Type="http://schemas.openxmlformats.org/officeDocument/2006/relationships/customXml" Target="../ink/ink23.xml"/><Relationship Id="rId87" Type="http://schemas.openxmlformats.org/officeDocument/2006/relationships/customXml" Target="../ink/ink45.xml"/><Relationship Id="rId110" Type="http://schemas.openxmlformats.org/officeDocument/2006/relationships/image" Target="../media/image61.png"/><Relationship Id="rId152" Type="http://schemas.openxmlformats.org/officeDocument/2006/relationships/image" Target="../media/image82.png"/><Relationship Id="rId194" Type="http://schemas.openxmlformats.org/officeDocument/2006/relationships/image" Target="../media/image103.png"/><Relationship Id="rId208" Type="http://schemas.openxmlformats.org/officeDocument/2006/relationships/image" Target="../media/image110.png"/><Relationship Id="rId240" Type="http://schemas.openxmlformats.org/officeDocument/2006/relationships/image" Target="../media/image126.png"/><Relationship Id="rId261" Type="http://schemas.openxmlformats.org/officeDocument/2006/relationships/image" Target="../media/image136.png"/><Relationship Id="rId14" Type="http://schemas.openxmlformats.org/officeDocument/2006/relationships/image" Target="../media/image14.png"/><Relationship Id="rId35" Type="http://schemas.openxmlformats.org/officeDocument/2006/relationships/customXml" Target="../ink/ink18.xml"/><Relationship Id="rId56" Type="http://schemas.openxmlformats.org/officeDocument/2006/relationships/image" Target="../media/image34.png"/><Relationship Id="rId77" Type="http://schemas.openxmlformats.org/officeDocument/2006/relationships/customXml" Target="../ink/ink40.xml"/><Relationship Id="rId100" Type="http://schemas.openxmlformats.org/officeDocument/2006/relationships/image" Target="../media/image56.png"/><Relationship Id="rId282" Type="http://schemas.openxmlformats.org/officeDocument/2006/relationships/customXml" Target="../ink/ink143.xml"/><Relationship Id="rId317" Type="http://schemas.openxmlformats.org/officeDocument/2006/relationships/image" Target="../media/image164.png"/><Relationship Id="rId338" Type="http://schemas.openxmlformats.org/officeDocument/2006/relationships/customXml" Target="../ink/ink171.xml"/><Relationship Id="rId8" Type="http://schemas.openxmlformats.org/officeDocument/2006/relationships/image" Target="../media/image11.png"/><Relationship Id="rId98" Type="http://schemas.openxmlformats.org/officeDocument/2006/relationships/image" Target="../media/image55.png"/><Relationship Id="rId121" Type="http://schemas.openxmlformats.org/officeDocument/2006/relationships/customXml" Target="../ink/ink62.xml"/><Relationship Id="rId142" Type="http://schemas.openxmlformats.org/officeDocument/2006/relationships/image" Target="../media/image77.png"/><Relationship Id="rId163" Type="http://schemas.openxmlformats.org/officeDocument/2006/relationships/customXml" Target="../ink/ink83.xml"/><Relationship Id="rId184" Type="http://schemas.openxmlformats.org/officeDocument/2006/relationships/image" Target="../media/image98.png"/><Relationship Id="rId219" Type="http://schemas.openxmlformats.org/officeDocument/2006/relationships/customXml" Target="../ink/ink111.xml"/><Relationship Id="rId230" Type="http://schemas.openxmlformats.org/officeDocument/2006/relationships/image" Target="../media/image121.png"/><Relationship Id="rId251" Type="http://schemas.openxmlformats.org/officeDocument/2006/relationships/image" Target="../media/image131.png"/><Relationship Id="rId25" Type="http://schemas.openxmlformats.org/officeDocument/2006/relationships/customXml" Target="../ink/ink13.xml"/><Relationship Id="rId46" Type="http://schemas.openxmlformats.org/officeDocument/2006/relationships/image" Target="../media/image30.png"/><Relationship Id="rId67" Type="http://schemas.openxmlformats.org/officeDocument/2006/relationships/customXml" Target="../ink/ink35.xml"/><Relationship Id="rId272" Type="http://schemas.openxmlformats.org/officeDocument/2006/relationships/customXml" Target="../ink/ink138.xml"/><Relationship Id="rId293" Type="http://schemas.openxmlformats.org/officeDocument/2006/relationships/image" Target="../media/image152.png"/><Relationship Id="rId307" Type="http://schemas.openxmlformats.org/officeDocument/2006/relationships/image" Target="../media/image159.png"/><Relationship Id="rId328" Type="http://schemas.openxmlformats.org/officeDocument/2006/relationships/customXml" Target="../ink/ink166.xml"/><Relationship Id="rId88" Type="http://schemas.openxmlformats.org/officeDocument/2006/relationships/image" Target="../media/image50.png"/><Relationship Id="rId111" Type="http://schemas.openxmlformats.org/officeDocument/2006/relationships/customXml" Target="../ink/ink57.xml"/><Relationship Id="rId132" Type="http://schemas.openxmlformats.org/officeDocument/2006/relationships/image" Target="../media/image72.png"/><Relationship Id="rId153" Type="http://schemas.openxmlformats.org/officeDocument/2006/relationships/customXml" Target="../ink/ink78.xml"/><Relationship Id="rId174" Type="http://schemas.openxmlformats.org/officeDocument/2006/relationships/image" Target="../media/image93.png"/><Relationship Id="rId195" Type="http://schemas.openxmlformats.org/officeDocument/2006/relationships/customXml" Target="../ink/ink99.xml"/><Relationship Id="rId209" Type="http://schemas.openxmlformats.org/officeDocument/2006/relationships/customXml" Target="../ink/ink106.xml"/><Relationship Id="rId220" Type="http://schemas.openxmlformats.org/officeDocument/2006/relationships/image" Target="../media/image116.png"/><Relationship Id="rId241" Type="http://schemas.openxmlformats.org/officeDocument/2006/relationships/customXml" Target="../ink/ink122.xml"/><Relationship Id="rId15" Type="http://schemas.openxmlformats.org/officeDocument/2006/relationships/customXml" Target="../ink/ink8.xml"/><Relationship Id="rId36" Type="http://schemas.openxmlformats.org/officeDocument/2006/relationships/image" Target="../media/image25.png"/><Relationship Id="rId57" Type="http://schemas.openxmlformats.org/officeDocument/2006/relationships/customXml" Target="../ink/ink30.xml"/><Relationship Id="rId262" Type="http://schemas.openxmlformats.org/officeDocument/2006/relationships/customXml" Target="../ink/ink133.xml"/><Relationship Id="rId283" Type="http://schemas.openxmlformats.org/officeDocument/2006/relationships/image" Target="../media/image147.png"/><Relationship Id="rId318" Type="http://schemas.openxmlformats.org/officeDocument/2006/relationships/customXml" Target="../ink/ink161.xml"/><Relationship Id="rId339" Type="http://schemas.openxmlformats.org/officeDocument/2006/relationships/image" Target="../media/image175.png"/><Relationship Id="rId78" Type="http://schemas.openxmlformats.org/officeDocument/2006/relationships/image" Target="../media/image45.png"/><Relationship Id="rId99" Type="http://schemas.openxmlformats.org/officeDocument/2006/relationships/customXml" Target="../ink/ink51.xml"/><Relationship Id="rId101" Type="http://schemas.openxmlformats.org/officeDocument/2006/relationships/customXml" Target="../ink/ink52.xml"/><Relationship Id="rId122" Type="http://schemas.openxmlformats.org/officeDocument/2006/relationships/image" Target="../media/image67.png"/><Relationship Id="rId143" Type="http://schemas.openxmlformats.org/officeDocument/2006/relationships/customXml" Target="../ink/ink73.xml"/><Relationship Id="rId164" Type="http://schemas.openxmlformats.org/officeDocument/2006/relationships/image" Target="../media/image88.png"/><Relationship Id="rId185" Type="http://schemas.openxmlformats.org/officeDocument/2006/relationships/customXml" Target="../ink/ink94.xml"/><Relationship Id="rId9" Type="http://schemas.openxmlformats.org/officeDocument/2006/relationships/customXml" Target="../ink/ink5.xml"/><Relationship Id="rId210" Type="http://schemas.openxmlformats.org/officeDocument/2006/relationships/image" Target="../media/image111.png"/><Relationship Id="rId26" Type="http://schemas.openxmlformats.org/officeDocument/2006/relationships/image" Target="../media/image20.png"/><Relationship Id="rId231" Type="http://schemas.openxmlformats.org/officeDocument/2006/relationships/customXml" Target="../ink/ink117.xml"/><Relationship Id="rId252" Type="http://schemas.openxmlformats.org/officeDocument/2006/relationships/customXml" Target="../ink/ink128.xml"/><Relationship Id="rId273" Type="http://schemas.openxmlformats.org/officeDocument/2006/relationships/image" Target="../media/image142.png"/><Relationship Id="rId294" Type="http://schemas.openxmlformats.org/officeDocument/2006/relationships/customXml" Target="../ink/ink149.xml"/><Relationship Id="rId308" Type="http://schemas.openxmlformats.org/officeDocument/2006/relationships/customXml" Target="../ink/ink156.xml"/><Relationship Id="rId329" Type="http://schemas.openxmlformats.org/officeDocument/2006/relationships/image" Target="../media/image170.png"/><Relationship Id="rId47" Type="http://schemas.openxmlformats.org/officeDocument/2006/relationships/customXml" Target="../ink/ink24.xml"/><Relationship Id="rId68" Type="http://schemas.openxmlformats.org/officeDocument/2006/relationships/image" Target="../media/image40.png"/><Relationship Id="rId89" Type="http://schemas.openxmlformats.org/officeDocument/2006/relationships/customXml" Target="../ink/ink46.xml"/><Relationship Id="rId112" Type="http://schemas.openxmlformats.org/officeDocument/2006/relationships/image" Target="../media/image62.png"/><Relationship Id="rId133" Type="http://schemas.openxmlformats.org/officeDocument/2006/relationships/customXml" Target="../ink/ink68.xml"/><Relationship Id="rId154" Type="http://schemas.openxmlformats.org/officeDocument/2006/relationships/image" Target="../media/image83.png"/><Relationship Id="rId175" Type="http://schemas.openxmlformats.org/officeDocument/2006/relationships/customXml" Target="../ink/ink89.xml"/><Relationship Id="rId340" Type="http://schemas.openxmlformats.org/officeDocument/2006/relationships/customXml" Target="../ink/ink172.xml"/><Relationship Id="rId196" Type="http://schemas.openxmlformats.org/officeDocument/2006/relationships/image" Target="../media/image104.png"/><Relationship Id="rId200" Type="http://schemas.openxmlformats.org/officeDocument/2006/relationships/image" Target="../media/image106.png"/><Relationship Id="rId16" Type="http://schemas.openxmlformats.org/officeDocument/2006/relationships/image" Target="../media/image15.png"/><Relationship Id="rId221" Type="http://schemas.openxmlformats.org/officeDocument/2006/relationships/customXml" Target="../ink/ink112.xml"/><Relationship Id="rId242" Type="http://schemas.openxmlformats.org/officeDocument/2006/relationships/image" Target="../media/image127.png"/><Relationship Id="rId263" Type="http://schemas.openxmlformats.org/officeDocument/2006/relationships/image" Target="../media/image137.png"/><Relationship Id="rId284" Type="http://schemas.openxmlformats.org/officeDocument/2006/relationships/customXml" Target="../ink/ink144.xml"/><Relationship Id="rId319" Type="http://schemas.openxmlformats.org/officeDocument/2006/relationships/image" Target="../media/image165.png"/><Relationship Id="rId37" Type="http://schemas.openxmlformats.org/officeDocument/2006/relationships/customXml" Target="../ink/ink19.xml"/><Relationship Id="rId58" Type="http://schemas.openxmlformats.org/officeDocument/2006/relationships/image" Target="../media/image35.png"/><Relationship Id="rId79" Type="http://schemas.openxmlformats.org/officeDocument/2006/relationships/customXml" Target="../ink/ink41.xml"/><Relationship Id="rId102" Type="http://schemas.openxmlformats.org/officeDocument/2006/relationships/image" Target="../media/image57.png"/><Relationship Id="rId123" Type="http://schemas.openxmlformats.org/officeDocument/2006/relationships/customXml" Target="../ink/ink63.xml"/><Relationship Id="rId144" Type="http://schemas.openxmlformats.org/officeDocument/2006/relationships/image" Target="../media/image78.png"/><Relationship Id="rId330" Type="http://schemas.openxmlformats.org/officeDocument/2006/relationships/customXml" Target="../ink/ink167.xml"/><Relationship Id="rId90" Type="http://schemas.openxmlformats.org/officeDocument/2006/relationships/image" Target="../media/image51.png"/><Relationship Id="rId165" Type="http://schemas.openxmlformats.org/officeDocument/2006/relationships/customXml" Target="../ink/ink84.xml"/><Relationship Id="rId186" Type="http://schemas.openxmlformats.org/officeDocument/2006/relationships/image" Target="../media/image99.png"/><Relationship Id="rId211" Type="http://schemas.openxmlformats.org/officeDocument/2006/relationships/customXml" Target="../ink/ink107.xml"/><Relationship Id="rId232" Type="http://schemas.openxmlformats.org/officeDocument/2006/relationships/image" Target="../media/image122.png"/><Relationship Id="rId253" Type="http://schemas.openxmlformats.org/officeDocument/2006/relationships/image" Target="../media/image132.png"/><Relationship Id="rId274" Type="http://schemas.openxmlformats.org/officeDocument/2006/relationships/customXml" Target="../ink/ink139.xml"/><Relationship Id="rId295" Type="http://schemas.openxmlformats.org/officeDocument/2006/relationships/image" Target="../media/image153.png"/><Relationship Id="rId309" Type="http://schemas.openxmlformats.org/officeDocument/2006/relationships/image" Target="../media/image160.png"/><Relationship Id="rId27" Type="http://schemas.openxmlformats.org/officeDocument/2006/relationships/customXml" Target="../ink/ink14.xml"/><Relationship Id="rId48" Type="http://schemas.openxmlformats.org/officeDocument/2006/relationships/customXml" Target="../ink/ink25.xml"/><Relationship Id="rId69" Type="http://schemas.openxmlformats.org/officeDocument/2006/relationships/customXml" Target="../ink/ink36.xml"/><Relationship Id="rId113" Type="http://schemas.openxmlformats.org/officeDocument/2006/relationships/customXml" Target="../ink/ink58.xml"/><Relationship Id="rId134" Type="http://schemas.openxmlformats.org/officeDocument/2006/relationships/image" Target="../media/image73.png"/><Relationship Id="rId320" Type="http://schemas.openxmlformats.org/officeDocument/2006/relationships/customXml" Target="../ink/ink162.xml"/><Relationship Id="rId80" Type="http://schemas.openxmlformats.org/officeDocument/2006/relationships/image" Target="../media/image46.png"/><Relationship Id="rId155" Type="http://schemas.openxmlformats.org/officeDocument/2006/relationships/customXml" Target="../ink/ink79.xml"/><Relationship Id="rId176" Type="http://schemas.openxmlformats.org/officeDocument/2006/relationships/image" Target="../media/image94.png"/><Relationship Id="rId197" Type="http://schemas.openxmlformats.org/officeDocument/2006/relationships/customXml" Target="../ink/ink100.xml"/><Relationship Id="rId341" Type="http://schemas.openxmlformats.org/officeDocument/2006/relationships/image" Target="../media/image176.png"/><Relationship Id="rId201" Type="http://schemas.openxmlformats.org/officeDocument/2006/relationships/customXml" Target="../ink/ink102.xml"/><Relationship Id="rId222" Type="http://schemas.openxmlformats.org/officeDocument/2006/relationships/image" Target="../media/image117.png"/><Relationship Id="rId243" Type="http://schemas.openxmlformats.org/officeDocument/2006/relationships/customXml" Target="../ink/ink123.xml"/><Relationship Id="rId264" Type="http://schemas.openxmlformats.org/officeDocument/2006/relationships/customXml" Target="../ink/ink134.xml"/><Relationship Id="rId285" Type="http://schemas.openxmlformats.org/officeDocument/2006/relationships/image" Target="../media/image148.png"/><Relationship Id="rId17" Type="http://schemas.openxmlformats.org/officeDocument/2006/relationships/customXml" Target="../ink/ink9.xml"/><Relationship Id="rId38" Type="http://schemas.openxmlformats.org/officeDocument/2006/relationships/image" Target="../media/image26.png"/><Relationship Id="rId59" Type="http://schemas.openxmlformats.org/officeDocument/2006/relationships/customXml" Target="../ink/ink31.xml"/><Relationship Id="rId103" Type="http://schemas.openxmlformats.org/officeDocument/2006/relationships/customXml" Target="../ink/ink53.xml"/><Relationship Id="rId124" Type="http://schemas.openxmlformats.org/officeDocument/2006/relationships/image" Target="../media/image68.png"/><Relationship Id="rId310" Type="http://schemas.openxmlformats.org/officeDocument/2006/relationships/customXml" Target="../ink/ink157.xml"/><Relationship Id="rId70" Type="http://schemas.openxmlformats.org/officeDocument/2006/relationships/image" Target="../media/image41.png"/><Relationship Id="rId91" Type="http://schemas.openxmlformats.org/officeDocument/2006/relationships/customXml" Target="../ink/ink47.xml"/><Relationship Id="rId145" Type="http://schemas.openxmlformats.org/officeDocument/2006/relationships/customXml" Target="../ink/ink74.xml"/><Relationship Id="rId166" Type="http://schemas.openxmlformats.org/officeDocument/2006/relationships/image" Target="../media/image89.png"/><Relationship Id="rId187" Type="http://schemas.openxmlformats.org/officeDocument/2006/relationships/customXml" Target="../ink/ink95.xml"/><Relationship Id="rId331" Type="http://schemas.openxmlformats.org/officeDocument/2006/relationships/image" Target="../media/image171.png"/><Relationship Id="rId1" Type="http://schemas.openxmlformats.org/officeDocument/2006/relationships/slideLayout" Target="../slideLayouts/slideLayout10.xml"/><Relationship Id="rId212" Type="http://schemas.openxmlformats.org/officeDocument/2006/relationships/image" Target="../media/image112.png"/><Relationship Id="rId233" Type="http://schemas.openxmlformats.org/officeDocument/2006/relationships/customXml" Target="../ink/ink118.xml"/><Relationship Id="rId254" Type="http://schemas.openxmlformats.org/officeDocument/2006/relationships/customXml" Target="../ink/ink129.xml"/><Relationship Id="rId28" Type="http://schemas.openxmlformats.org/officeDocument/2006/relationships/image" Target="../media/image21.png"/><Relationship Id="rId49" Type="http://schemas.openxmlformats.org/officeDocument/2006/relationships/customXml" Target="../ink/ink26.xml"/><Relationship Id="rId114" Type="http://schemas.openxmlformats.org/officeDocument/2006/relationships/image" Target="../media/image63.png"/><Relationship Id="rId275" Type="http://schemas.openxmlformats.org/officeDocument/2006/relationships/image" Target="../media/image143.png"/><Relationship Id="rId296" Type="http://schemas.openxmlformats.org/officeDocument/2006/relationships/customXml" Target="../ink/ink150.xml"/><Relationship Id="rId300" Type="http://schemas.openxmlformats.org/officeDocument/2006/relationships/customXml" Target="../ink/ink152.xml"/><Relationship Id="rId60" Type="http://schemas.openxmlformats.org/officeDocument/2006/relationships/image" Target="../media/image36.png"/><Relationship Id="rId81" Type="http://schemas.openxmlformats.org/officeDocument/2006/relationships/customXml" Target="../ink/ink42.xml"/><Relationship Id="rId135" Type="http://schemas.openxmlformats.org/officeDocument/2006/relationships/customXml" Target="../ink/ink69.xml"/><Relationship Id="rId156" Type="http://schemas.openxmlformats.org/officeDocument/2006/relationships/image" Target="../media/image84.png"/><Relationship Id="rId177" Type="http://schemas.openxmlformats.org/officeDocument/2006/relationships/customXml" Target="../ink/ink90.xml"/><Relationship Id="rId198" Type="http://schemas.openxmlformats.org/officeDocument/2006/relationships/image" Target="../media/image105.png"/><Relationship Id="rId321" Type="http://schemas.openxmlformats.org/officeDocument/2006/relationships/image" Target="../media/image166.png"/><Relationship Id="rId342" Type="http://schemas.openxmlformats.org/officeDocument/2006/relationships/customXml" Target="../ink/ink173.xml"/><Relationship Id="rId202" Type="http://schemas.openxmlformats.org/officeDocument/2006/relationships/image" Target="../media/image107.png"/><Relationship Id="rId223" Type="http://schemas.openxmlformats.org/officeDocument/2006/relationships/customXml" Target="../ink/ink113.xml"/><Relationship Id="rId244" Type="http://schemas.openxmlformats.org/officeDocument/2006/relationships/customXml" Target="../ink/ink124.xml"/><Relationship Id="rId18" Type="http://schemas.openxmlformats.org/officeDocument/2006/relationships/image" Target="../media/image16.png"/><Relationship Id="rId39" Type="http://schemas.openxmlformats.org/officeDocument/2006/relationships/customXml" Target="../ink/ink20.xml"/><Relationship Id="rId265" Type="http://schemas.openxmlformats.org/officeDocument/2006/relationships/image" Target="../media/image138.png"/><Relationship Id="rId286" Type="http://schemas.openxmlformats.org/officeDocument/2006/relationships/customXml" Target="../ink/ink145.xml"/><Relationship Id="rId50" Type="http://schemas.openxmlformats.org/officeDocument/2006/relationships/image" Target="../media/image31.png"/><Relationship Id="rId104" Type="http://schemas.openxmlformats.org/officeDocument/2006/relationships/image" Target="../media/image58.png"/><Relationship Id="rId125" Type="http://schemas.openxmlformats.org/officeDocument/2006/relationships/customXml" Target="../ink/ink64.xml"/><Relationship Id="rId146" Type="http://schemas.openxmlformats.org/officeDocument/2006/relationships/image" Target="../media/image79.png"/><Relationship Id="rId167" Type="http://schemas.openxmlformats.org/officeDocument/2006/relationships/customXml" Target="../ink/ink85.xml"/><Relationship Id="rId188" Type="http://schemas.openxmlformats.org/officeDocument/2006/relationships/image" Target="../media/image100.png"/><Relationship Id="rId311" Type="http://schemas.openxmlformats.org/officeDocument/2006/relationships/image" Target="../media/image161.png"/><Relationship Id="rId332" Type="http://schemas.openxmlformats.org/officeDocument/2006/relationships/customXml" Target="../ink/ink168.xml"/><Relationship Id="rId71" Type="http://schemas.openxmlformats.org/officeDocument/2006/relationships/customXml" Target="../ink/ink37.xml"/><Relationship Id="rId92" Type="http://schemas.openxmlformats.org/officeDocument/2006/relationships/image" Target="../media/image52.png"/><Relationship Id="rId213" Type="http://schemas.openxmlformats.org/officeDocument/2006/relationships/customXml" Target="../ink/ink108.xml"/><Relationship Id="rId234" Type="http://schemas.openxmlformats.org/officeDocument/2006/relationships/image" Target="../media/image123.png"/><Relationship Id="rId2" Type="http://schemas.openxmlformats.org/officeDocument/2006/relationships/image" Target="../media/image8.png"/><Relationship Id="rId29" Type="http://schemas.openxmlformats.org/officeDocument/2006/relationships/customXml" Target="../ink/ink15.xml"/><Relationship Id="rId255" Type="http://schemas.openxmlformats.org/officeDocument/2006/relationships/image" Target="../media/image133.png"/><Relationship Id="rId276" Type="http://schemas.openxmlformats.org/officeDocument/2006/relationships/customXml" Target="../ink/ink140.xml"/><Relationship Id="rId297" Type="http://schemas.openxmlformats.org/officeDocument/2006/relationships/image" Target="../media/image154.png"/><Relationship Id="rId40" Type="http://schemas.openxmlformats.org/officeDocument/2006/relationships/image" Target="../media/image27.png"/><Relationship Id="rId115" Type="http://schemas.openxmlformats.org/officeDocument/2006/relationships/customXml" Target="../ink/ink59.xml"/><Relationship Id="rId136" Type="http://schemas.openxmlformats.org/officeDocument/2006/relationships/image" Target="../media/image74.png"/><Relationship Id="rId157" Type="http://schemas.openxmlformats.org/officeDocument/2006/relationships/customXml" Target="../ink/ink80.xml"/><Relationship Id="rId178" Type="http://schemas.openxmlformats.org/officeDocument/2006/relationships/image" Target="../media/image95.png"/><Relationship Id="rId301" Type="http://schemas.openxmlformats.org/officeDocument/2006/relationships/image" Target="../media/image156.png"/><Relationship Id="rId322" Type="http://schemas.openxmlformats.org/officeDocument/2006/relationships/customXml" Target="../ink/ink163.xml"/><Relationship Id="rId343" Type="http://schemas.openxmlformats.org/officeDocument/2006/relationships/image" Target="../media/image177.png"/><Relationship Id="rId61" Type="http://schemas.openxmlformats.org/officeDocument/2006/relationships/customXml" Target="../ink/ink32.xml"/><Relationship Id="rId82" Type="http://schemas.openxmlformats.org/officeDocument/2006/relationships/image" Target="../media/image47.png"/><Relationship Id="rId199" Type="http://schemas.openxmlformats.org/officeDocument/2006/relationships/customXml" Target="../ink/ink101.xml"/><Relationship Id="rId203" Type="http://schemas.openxmlformats.org/officeDocument/2006/relationships/customXml" Target="../ink/ink103.xml"/><Relationship Id="rId19" Type="http://schemas.openxmlformats.org/officeDocument/2006/relationships/customXml" Target="../ink/ink10.xml"/><Relationship Id="rId224" Type="http://schemas.openxmlformats.org/officeDocument/2006/relationships/image" Target="../media/image118.png"/><Relationship Id="rId245" Type="http://schemas.openxmlformats.org/officeDocument/2006/relationships/image" Target="../media/image128.png"/><Relationship Id="rId266" Type="http://schemas.openxmlformats.org/officeDocument/2006/relationships/customXml" Target="../ink/ink135.xml"/><Relationship Id="rId287" Type="http://schemas.openxmlformats.org/officeDocument/2006/relationships/image" Target="../media/image149.png"/><Relationship Id="rId30" Type="http://schemas.openxmlformats.org/officeDocument/2006/relationships/image" Target="../media/image22.png"/><Relationship Id="rId105" Type="http://schemas.openxmlformats.org/officeDocument/2006/relationships/customXml" Target="../ink/ink54.xml"/><Relationship Id="rId126" Type="http://schemas.openxmlformats.org/officeDocument/2006/relationships/image" Target="../media/image69.png"/><Relationship Id="rId147" Type="http://schemas.openxmlformats.org/officeDocument/2006/relationships/customXml" Target="../ink/ink75.xml"/><Relationship Id="rId168" Type="http://schemas.openxmlformats.org/officeDocument/2006/relationships/image" Target="../media/image90.png"/><Relationship Id="rId312" Type="http://schemas.openxmlformats.org/officeDocument/2006/relationships/customXml" Target="../ink/ink158.xml"/><Relationship Id="rId333" Type="http://schemas.openxmlformats.org/officeDocument/2006/relationships/image" Target="../media/image172.png"/><Relationship Id="rId51" Type="http://schemas.openxmlformats.org/officeDocument/2006/relationships/customXml" Target="../ink/ink27.xml"/><Relationship Id="rId72" Type="http://schemas.openxmlformats.org/officeDocument/2006/relationships/image" Target="../media/image42.png"/><Relationship Id="rId93" Type="http://schemas.openxmlformats.org/officeDocument/2006/relationships/customXml" Target="../ink/ink48.xml"/><Relationship Id="rId189" Type="http://schemas.openxmlformats.org/officeDocument/2006/relationships/customXml" Target="../ink/ink96.xml"/><Relationship Id="rId3" Type="http://schemas.openxmlformats.org/officeDocument/2006/relationships/customXml" Target="../ink/ink2.xml"/><Relationship Id="rId214" Type="http://schemas.openxmlformats.org/officeDocument/2006/relationships/image" Target="../media/image113.png"/><Relationship Id="rId235" Type="http://schemas.openxmlformats.org/officeDocument/2006/relationships/customXml" Target="../ink/ink119.xml"/><Relationship Id="rId256" Type="http://schemas.openxmlformats.org/officeDocument/2006/relationships/customXml" Target="../ink/ink130.xml"/><Relationship Id="rId277" Type="http://schemas.openxmlformats.org/officeDocument/2006/relationships/image" Target="../media/image144.png"/><Relationship Id="rId298" Type="http://schemas.openxmlformats.org/officeDocument/2006/relationships/customXml" Target="../ink/ink151.xml"/><Relationship Id="rId116" Type="http://schemas.openxmlformats.org/officeDocument/2006/relationships/image" Target="../media/image64.png"/><Relationship Id="rId137" Type="http://schemas.openxmlformats.org/officeDocument/2006/relationships/customXml" Target="../ink/ink70.xml"/><Relationship Id="rId158" Type="http://schemas.openxmlformats.org/officeDocument/2006/relationships/image" Target="../media/image85.png"/><Relationship Id="rId302" Type="http://schemas.openxmlformats.org/officeDocument/2006/relationships/customXml" Target="../ink/ink153.xml"/><Relationship Id="rId323" Type="http://schemas.openxmlformats.org/officeDocument/2006/relationships/image" Target="../media/image167.png"/><Relationship Id="rId20" Type="http://schemas.openxmlformats.org/officeDocument/2006/relationships/image" Target="../media/image17.png"/><Relationship Id="rId41" Type="http://schemas.openxmlformats.org/officeDocument/2006/relationships/customXml" Target="../ink/ink21.xml"/><Relationship Id="rId62" Type="http://schemas.openxmlformats.org/officeDocument/2006/relationships/image" Target="../media/image37.png"/><Relationship Id="rId83" Type="http://schemas.openxmlformats.org/officeDocument/2006/relationships/customXml" Target="../ink/ink43.xml"/><Relationship Id="rId179" Type="http://schemas.openxmlformats.org/officeDocument/2006/relationships/customXml" Target="../ink/ink91.xml"/><Relationship Id="rId190" Type="http://schemas.openxmlformats.org/officeDocument/2006/relationships/image" Target="../media/image101.png"/><Relationship Id="rId204" Type="http://schemas.openxmlformats.org/officeDocument/2006/relationships/image" Target="../media/image108.png"/><Relationship Id="rId225" Type="http://schemas.openxmlformats.org/officeDocument/2006/relationships/customXml" Target="../ink/ink114.xml"/><Relationship Id="rId246" Type="http://schemas.openxmlformats.org/officeDocument/2006/relationships/customXml" Target="../ink/ink125.xml"/><Relationship Id="rId267" Type="http://schemas.openxmlformats.org/officeDocument/2006/relationships/image" Target="../media/image139.png"/><Relationship Id="rId288" Type="http://schemas.openxmlformats.org/officeDocument/2006/relationships/customXml" Target="../ink/ink146.xml"/><Relationship Id="rId106" Type="http://schemas.openxmlformats.org/officeDocument/2006/relationships/image" Target="../media/image59.png"/><Relationship Id="rId127" Type="http://schemas.openxmlformats.org/officeDocument/2006/relationships/customXml" Target="../ink/ink65.xml"/><Relationship Id="rId313" Type="http://schemas.openxmlformats.org/officeDocument/2006/relationships/image" Target="../media/image162.png"/><Relationship Id="rId10" Type="http://schemas.openxmlformats.org/officeDocument/2006/relationships/image" Target="../media/image12.png"/><Relationship Id="rId31" Type="http://schemas.openxmlformats.org/officeDocument/2006/relationships/customXml" Target="../ink/ink16.xml"/><Relationship Id="rId52" Type="http://schemas.openxmlformats.org/officeDocument/2006/relationships/image" Target="../media/image32.png"/><Relationship Id="rId73" Type="http://schemas.openxmlformats.org/officeDocument/2006/relationships/customXml" Target="../ink/ink38.xml"/><Relationship Id="rId94" Type="http://schemas.openxmlformats.org/officeDocument/2006/relationships/image" Target="../media/image53.png"/><Relationship Id="rId148" Type="http://schemas.openxmlformats.org/officeDocument/2006/relationships/image" Target="../media/image80.png"/><Relationship Id="rId169" Type="http://schemas.openxmlformats.org/officeDocument/2006/relationships/customXml" Target="../ink/ink86.xml"/><Relationship Id="rId334" Type="http://schemas.openxmlformats.org/officeDocument/2006/relationships/customXml" Target="../ink/ink169.xml"/><Relationship Id="rId4" Type="http://schemas.openxmlformats.org/officeDocument/2006/relationships/image" Target="../media/image9.png"/><Relationship Id="rId180" Type="http://schemas.openxmlformats.org/officeDocument/2006/relationships/image" Target="../media/image96.png"/><Relationship Id="rId215" Type="http://schemas.openxmlformats.org/officeDocument/2006/relationships/customXml" Target="../ink/ink109.xml"/><Relationship Id="rId236" Type="http://schemas.openxmlformats.org/officeDocument/2006/relationships/image" Target="../media/image124.png"/><Relationship Id="rId257" Type="http://schemas.openxmlformats.org/officeDocument/2006/relationships/image" Target="../media/image134.png"/><Relationship Id="rId278" Type="http://schemas.openxmlformats.org/officeDocument/2006/relationships/customXml" Target="../ink/ink141.xml"/><Relationship Id="rId303" Type="http://schemas.openxmlformats.org/officeDocument/2006/relationships/image" Target="../media/image157.png"/><Relationship Id="rId42" Type="http://schemas.openxmlformats.org/officeDocument/2006/relationships/image" Target="../media/image28.png"/><Relationship Id="rId84" Type="http://schemas.openxmlformats.org/officeDocument/2006/relationships/image" Target="../media/image48.png"/><Relationship Id="rId138" Type="http://schemas.openxmlformats.org/officeDocument/2006/relationships/image" Target="../media/image75.png"/><Relationship Id="rId191" Type="http://schemas.openxmlformats.org/officeDocument/2006/relationships/customXml" Target="../ink/ink97.xml"/><Relationship Id="rId205" Type="http://schemas.openxmlformats.org/officeDocument/2006/relationships/customXml" Target="../ink/ink104.xml"/><Relationship Id="rId247" Type="http://schemas.openxmlformats.org/officeDocument/2006/relationships/image" Target="../media/image129.png"/><Relationship Id="rId107" Type="http://schemas.openxmlformats.org/officeDocument/2006/relationships/customXml" Target="../ink/ink55.xml"/><Relationship Id="rId289" Type="http://schemas.openxmlformats.org/officeDocument/2006/relationships/image" Target="../media/image150.png"/><Relationship Id="rId11" Type="http://schemas.openxmlformats.org/officeDocument/2006/relationships/customXml" Target="../ink/ink6.xml"/><Relationship Id="rId53" Type="http://schemas.openxmlformats.org/officeDocument/2006/relationships/customXml" Target="../ink/ink28.xml"/><Relationship Id="rId149" Type="http://schemas.openxmlformats.org/officeDocument/2006/relationships/customXml" Target="../ink/ink76.xml"/><Relationship Id="rId314" Type="http://schemas.openxmlformats.org/officeDocument/2006/relationships/customXml" Target="../ink/ink159.xml"/><Relationship Id="rId95" Type="http://schemas.openxmlformats.org/officeDocument/2006/relationships/customXml" Target="../ink/ink49.xml"/><Relationship Id="rId160" Type="http://schemas.openxmlformats.org/officeDocument/2006/relationships/image" Target="../media/image86.png"/><Relationship Id="rId216" Type="http://schemas.openxmlformats.org/officeDocument/2006/relationships/image" Target="../media/image114.png"/><Relationship Id="rId258" Type="http://schemas.openxmlformats.org/officeDocument/2006/relationships/customXml" Target="../ink/ink131.xml"/><Relationship Id="rId22" Type="http://schemas.openxmlformats.org/officeDocument/2006/relationships/image" Target="../media/image18.png"/><Relationship Id="rId64" Type="http://schemas.openxmlformats.org/officeDocument/2006/relationships/image" Target="../media/image38.png"/><Relationship Id="rId118" Type="http://schemas.openxmlformats.org/officeDocument/2006/relationships/image" Target="../media/image65.png"/><Relationship Id="rId325" Type="http://schemas.openxmlformats.org/officeDocument/2006/relationships/image" Target="../media/image168.png"/><Relationship Id="rId171" Type="http://schemas.openxmlformats.org/officeDocument/2006/relationships/customXml" Target="../ink/ink87.xml"/><Relationship Id="rId227" Type="http://schemas.openxmlformats.org/officeDocument/2006/relationships/customXml" Target="../ink/ink115.xml"/><Relationship Id="rId269" Type="http://schemas.openxmlformats.org/officeDocument/2006/relationships/image" Target="../media/image140.png"/><Relationship Id="rId33" Type="http://schemas.openxmlformats.org/officeDocument/2006/relationships/customXml" Target="../ink/ink17.xml"/><Relationship Id="rId129" Type="http://schemas.openxmlformats.org/officeDocument/2006/relationships/customXml" Target="../ink/ink66.xml"/><Relationship Id="rId280" Type="http://schemas.openxmlformats.org/officeDocument/2006/relationships/customXml" Target="../ink/ink142.xml"/><Relationship Id="rId336" Type="http://schemas.openxmlformats.org/officeDocument/2006/relationships/customXml" Target="../ink/ink170.xml"/><Relationship Id="rId75" Type="http://schemas.openxmlformats.org/officeDocument/2006/relationships/customXml" Target="../ink/ink39.xml"/><Relationship Id="rId140" Type="http://schemas.openxmlformats.org/officeDocument/2006/relationships/image" Target="../media/image76.png"/><Relationship Id="rId182" Type="http://schemas.openxmlformats.org/officeDocument/2006/relationships/image" Target="../media/image97.png"/><Relationship Id="rId6" Type="http://schemas.openxmlformats.org/officeDocument/2006/relationships/image" Target="../media/image10.png"/><Relationship Id="rId238" Type="http://schemas.openxmlformats.org/officeDocument/2006/relationships/image" Target="../media/image125.png"/><Relationship Id="rId291" Type="http://schemas.openxmlformats.org/officeDocument/2006/relationships/image" Target="../media/image151.png"/><Relationship Id="rId305" Type="http://schemas.openxmlformats.org/officeDocument/2006/relationships/image" Target="../media/image158.png"/><Relationship Id="rId44" Type="http://schemas.openxmlformats.org/officeDocument/2006/relationships/image" Target="../media/image29.png"/><Relationship Id="rId86" Type="http://schemas.openxmlformats.org/officeDocument/2006/relationships/image" Target="../media/image49.png"/><Relationship Id="rId151" Type="http://schemas.openxmlformats.org/officeDocument/2006/relationships/customXml" Target="../ink/ink77.xml"/><Relationship Id="rId193" Type="http://schemas.openxmlformats.org/officeDocument/2006/relationships/customXml" Target="../ink/ink98.xml"/><Relationship Id="rId207" Type="http://schemas.openxmlformats.org/officeDocument/2006/relationships/customXml" Target="../ink/ink105.xml"/><Relationship Id="rId249" Type="http://schemas.openxmlformats.org/officeDocument/2006/relationships/image" Target="../media/image130.png"/><Relationship Id="rId13" Type="http://schemas.openxmlformats.org/officeDocument/2006/relationships/customXml" Target="../ink/ink7.xml"/><Relationship Id="rId109" Type="http://schemas.openxmlformats.org/officeDocument/2006/relationships/customXml" Target="../ink/ink56.xml"/><Relationship Id="rId260" Type="http://schemas.openxmlformats.org/officeDocument/2006/relationships/customXml" Target="../ink/ink132.xml"/><Relationship Id="rId316" Type="http://schemas.openxmlformats.org/officeDocument/2006/relationships/customXml" Target="../ink/ink160.xml"/><Relationship Id="rId55" Type="http://schemas.openxmlformats.org/officeDocument/2006/relationships/customXml" Target="../ink/ink29.xml"/><Relationship Id="rId97" Type="http://schemas.openxmlformats.org/officeDocument/2006/relationships/customXml" Target="../ink/ink50.xml"/><Relationship Id="rId120" Type="http://schemas.openxmlformats.org/officeDocument/2006/relationships/image" Target="../media/image66.png"/><Relationship Id="rId162" Type="http://schemas.openxmlformats.org/officeDocument/2006/relationships/image" Target="../media/image87.png"/><Relationship Id="rId218" Type="http://schemas.openxmlformats.org/officeDocument/2006/relationships/image" Target="../media/image115.png"/><Relationship Id="rId271" Type="http://schemas.openxmlformats.org/officeDocument/2006/relationships/image" Target="../media/image141.png"/><Relationship Id="rId24" Type="http://schemas.openxmlformats.org/officeDocument/2006/relationships/image" Target="../media/image19.png"/><Relationship Id="rId66" Type="http://schemas.openxmlformats.org/officeDocument/2006/relationships/image" Target="../media/image39.png"/><Relationship Id="rId131" Type="http://schemas.openxmlformats.org/officeDocument/2006/relationships/customXml" Target="../ink/ink67.xml"/><Relationship Id="rId327" Type="http://schemas.openxmlformats.org/officeDocument/2006/relationships/image" Target="../media/image169.png"/><Relationship Id="rId173" Type="http://schemas.openxmlformats.org/officeDocument/2006/relationships/customXml" Target="../ink/ink88.xml"/><Relationship Id="rId229" Type="http://schemas.openxmlformats.org/officeDocument/2006/relationships/customXml" Target="../ink/ink116.xml"/></Relationships>
</file>

<file path=ppt/slides/_rels/slide9.xml.rels><?xml version="1.0" encoding="UTF-8" standalone="yes"?>
<Relationships xmlns="http://schemas.openxmlformats.org/package/2006/relationships"><Relationship Id="rId117" Type="http://schemas.openxmlformats.org/officeDocument/2006/relationships/customXml" Target="../ink/ink227.xml"/><Relationship Id="rId21" Type="http://schemas.openxmlformats.org/officeDocument/2006/relationships/customXml" Target="../ink/ink182.xml"/><Relationship Id="rId42" Type="http://schemas.openxmlformats.org/officeDocument/2006/relationships/image" Target="../media/image179.png"/><Relationship Id="rId84" Type="http://schemas.openxmlformats.org/officeDocument/2006/relationships/image" Target="../media/image200.png"/><Relationship Id="rId138" Type="http://schemas.openxmlformats.org/officeDocument/2006/relationships/image" Target="../media/image226.png"/><Relationship Id="rId16" Type="http://schemas.openxmlformats.org/officeDocument/2006/relationships/image" Target="../media/image1660.png"/><Relationship Id="rId107" Type="http://schemas.openxmlformats.org/officeDocument/2006/relationships/customXml" Target="../ink/ink222.xml"/><Relationship Id="rId11" Type="http://schemas.openxmlformats.org/officeDocument/2006/relationships/customXml" Target="../ink/ink178.xml"/><Relationship Id="rId32" Type="http://schemas.openxmlformats.org/officeDocument/2006/relationships/image" Target="../media/image1740.png"/><Relationship Id="rId37" Type="http://schemas.openxmlformats.org/officeDocument/2006/relationships/customXml" Target="../ink/ink188.xml"/><Relationship Id="rId53" Type="http://schemas.openxmlformats.org/officeDocument/2006/relationships/customXml" Target="../ink/ink196.xml"/><Relationship Id="rId58" Type="http://schemas.openxmlformats.org/officeDocument/2006/relationships/image" Target="../media/image187.png"/><Relationship Id="rId74" Type="http://schemas.openxmlformats.org/officeDocument/2006/relationships/image" Target="../media/image195.png"/><Relationship Id="rId79" Type="http://schemas.openxmlformats.org/officeDocument/2006/relationships/customXml" Target="../ink/ink208.xml"/><Relationship Id="rId102" Type="http://schemas.openxmlformats.org/officeDocument/2006/relationships/image" Target="../media/image209.png"/><Relationship Id="rId123" Type="http://schemas.openxmlformats.org/officeDocument/2006/relationships/customXml" Target="../ink/ink230.xml"/><Relationship Id="rId128" Type="http://schemas.openxmlformats.org/officeDocument/2006/relationships/image" Target="../media/image221.png"/><Relationship Id="rId5" Type="http://schemas.openxmlformats.org/officeDocument/2006/relationships/customXml" Target="../ink/ink175.xml"/><Relationship Id="rId90" Type="http://schemas.openxmlformats.org/officeDocument/2006/relationships/image" Target="../media/image203.png"/><Relationship Id="rId95" Type="http://schemas.openxmlformats.org/officeDocument/2006/relationships/customXml" Target="../ink/ink216.xml"/><Relationship Id="rId22" Type="http://schemas.openxmlformats.org/officeDocument/2006/relationships/image" Target="../media/image1690.png"/><Relationship Id="rId43" Type="http://schemas.openxmlformats.org/officeDocument/2006/relationships/customXml" Target="../ink/ink191.xml"/><Relationship Id="rId48" Type="http://schemas.openxmlformats.org/officeDocument/2006/relationships/image" Target="../media/image182.png"/><Relationship Id="rId64" Type="http://schemas.openxmlformats.org/officeDocument/2006/relationships/image" Target="../media/image190.png"/><Relationship Id="rId69" Type="http://schemas.openxmlformats.org/officeDocument/2006/relationships/customXml" Target="../ink/ink203.xml"/><Relationship Id="rId113" Type="http://schemas.openxmlformats.org/officeDocument/2006/relationships/customXml" Target="../ink/ink225.xml"/><Relationship Id="rId118" Type="http://schemas.openxmlformats.org/officeDocument/2006/relationships/image" Target="../media/image216.png"/><Relationship Id="rId134" Type="http://schemas.openxmlformats.org/officeDocument/2006/relationships/image" Target="../media/image224.png"/><Relationship Id="rId139" Type="http://schemas.openxmlformats.org/officeDocument/2006/relationships/customXml" Target="../ink/ink238.xml"/><Relationship Id="rId80" Type="http://schemas.openxmlformats.org/officeDocument/2006/relationships/image" Target="../media/image198.png"/><Relationship Id="rId85" Type="http://schemas.openxmlformats.org/officeDocument/2006/relationships/customXml" Target="../ink/ink211.xml"/><Relationship Id="rId17" Type="http://schemas.openxmlformats.org/officeDocument/2006/relationships/customXml" Target="../ink/ink180.xml"/><Relationship Id="rId33" Type="http://schemas.openxmlformats.org/officeDocument/2006/relationships/customXml" Target="../ink/ink186.xml"/><Relationship Id="rId38" Type="http://schemas.openxmlformats.org/officeDocument/2006/relationships/image" Target="../media/image1770.png"/><Relationship Id="rId59" Type="http://schemas.openxmlformats.org/officeDocument/2006/relationships/customXml" Target="../ink/ink199.xml"/><Relationship Id="rId103" Type="http://schemas.openxmlformats.org/officeDocument/2006/relationships/customXml" Target="../ink/ink220.xml"/><Relationship Id="rId108" Type="http://schemas.openxmlformats.org/officeDocument/2006/relationships/image" Target="../media/image212.png"/><Relationship Id="rId124" Type="http://schemas.openxmlformats.org/officeDocument/2006/relationships/image" Target="../media/image219.png"/><Relationship Id="rId129" Type="http://schemas.openxmlformats.org/officeDocument/2006/relationships/customXml" Target="../ink/ink233.xml"/><Relationship Id="rId54" Type="http://schemas.openxmlformats.org/officeDocument/2006/relationships/image" Target="../media/image185.png"/><Relationship Id="rId70" Type="http://schemas.openxmlformats.org/officeDocument/2006/relationships/image" Target="../media/image193.png"/><Relationship Id="rId75" Type="http://schemas.openxmlformats.org/officeDocument/2006/relationships/customXml" Target="../ink/ink206.xml"/><Relationship Id="rId91" Type="http://schemas.openxmlformats.org/officeDocument/2006/relationships/customXml" Target="../ink/ink214.xml"/><Relationship Id="rId96" Type="http://schemas.openxmlformats.org/officeDocument/2006/relationships/image" Target="../media/image206.png"/><Relationship Id="rId140" Type="http://schemas.openxmlformats.org/officeDocument/2006/relationships/image" Target="../media/image227.png"/><Relationship Id="rId1" Type="http://schemas.openxmlformats.org/officeDocument/2006/relationships/slideLayout" Target="../slideLayouts/slideLayout10.xml"/><Relationship Id="rId6" Type="http://schemas.openxmlformats.org/officeDocument/2006/relationships/image" Target="../media/image1610.png"/><Relationship Id="rId23" Type="http://schemas.openxmlformats.org/officeDocument/2006/relationships/customXml" Target="../ink/ink183.xml"/><Relationship Id="rId28" Type="http://schemas.openxmlformats.org/officeDocument/2006/relationships/image" Target="../media/image1720.png"/><Relationship Id="rId49" Type="http://schemas.openxmlformats.org/officeDocument/2006/relationships/customXml" Target="../ink/ink194.xml"/><Relationship Id="rId114" Type="http://schemas.openxmlformats.org/officeDocument/2006/relationships/image" Target="../media/image215.png"/><Relationship Id="rId119" Type="http://schemas.openxmlformats.org/officeDocument/2006/relationships/customXml" Target="../ink/ink228.xml"/><Relationship Id="rId44" Type="http://schemas.openxmlformats.org/officeDocument/2006/relationships/image" Target="../media/image180.png"/><Relationship Id="rId60" Type="http://schemas.openxmlformats.org/officeDocument/2006/relationships/image" Target="../media/image188.png"/><Relationship Id="rId65" Type="http://schemas.openxmlformats.org/officeDocument/2006/relationships/customXml" Target="../ink/ink201.xml"/><Relationship Id="rId81" Type="http://schemas.openxmlformats.org/officeDocument/2006/relationships/customXml" Target="../ink/ink209.xml"/><Relationship Id="rId86" Type="http://schemas.openxmlformats.org/officeDocument/2006/relationships/image" Target="../media/image201.png"/><Relationship Id="rId130" Type="http://schemas.openxmlformats.org/officeDocument/2006/relationships/image" Target="../media/image222.png"/><Relationship Id="rId135" Type="http://schemas.openxmlformats.org/officeDocument/2006/relationships/customXml" Target="../ink/ink236.xml"/><Relationship Id="rId18" Type="http://schemas.openxmlformats.org/officeDocument/2006/relationships/image" Target="../media/image1670.png"/><Relationship Id="rId39" Type="http://schemas.openxmlformats.org/officeDocument/2006/relationships/customXml" Target="../ink/ink189.xml"/><Relationship Id="rId109" Type="http://schemas.openxmlformats.org/officeDocument/2006/relationships/customXml" Target="../ink/ink223.xml"/><Relationship Id="rId34" Type="http://schemas.openxmlformats.org/officeDocument/2006/relationships/image" Target="../media/image1750.png"/><Relationship Id="rId50" Type="http://schemas.openxmlformats.org/officeDocument/2006/relationships/image" Target="../media/image183.png"/><Relationship Id="rId55" Type="http://schemas.openxmlformats.org/officeDocument/2006/relationships/customXml" Target="../ink/ink197.xml"/><Relationship Id="rId76" Type="http://schemas.openxmlformats.org/officeDocument/2006/relationships/image" Target="../media/image196.png"/><Relationship Id="rId97" Type="http://schemas.openxmlformats.org/officeDocument/2006/relationships/customXml" Target="../ink/ink217.xml"/><Relationship Id="rId104" Type="http://schemas.openxmlformats.org/officeDocument/2006/relationships/image" Target="../media/image210.png"/><Relationship Id="rId120" Type="http://schemas.openxmlformats.org/officeDocument/2006/relationships/image" Target="../media/image217.png"/><Relationship Id="rId125" Type="http://schemas.openxmlformats.org/officeDocument/2006/relationships/customXml" Target="../ink/ink231.xml"/><Relationship Id="rId141" Type="http://schemas.openxmlformats.org/officeDocument/2006/relationships/customXml" Target="../ink/ink239.xml"/><Relationship Id="rId7" Type="http://schemas.openxmlformats.org/officeDocument/2006/relationships/customXml" Target="../ink/ink176.xml"/><Relationship Id="rId71" Type="http://schemas.openxmlformats.org/officeDocument/2006/relationships/customXml" Target="../ink/ink204.xml"/><Relationship Id="rId92" Type="http://schemas.openxmlformats.org/officeDocument/2006/relationships/image" Target="../media/image204.png"/><Relationship Id="rId2" Type="http://schemas.openxmlformats.org/officeDocument/2006/relationships/image" Target="../media/image178.png"/><Relationship Id="rId29" Type="http://schemas.openxmlformats.org/officeDocument/2006/relationships/customXml" Target="../ink/ink184.xml"/><Relationship Id="rId40" Type="http://schemas.openxmlformats.org/officeDocument/2006/relationships/image" Target="../media/image1780.png"/><Relationship Id="rId45" Type="http://schemas.openxmlformats.org/officeDocument/2006/relationships/customXml" Target="../ink/ink192.xml"/><Relationship Id="rId66" Type="http://schemas.openxmlformats.org/officeDocument/2006/relationships/image" Target="../media/image191.png"/><Relationship Id="rId87" Type="http://schemas.openxmlformats.org/officeDocument/2006/relationships/customXml" Target="../ink/ink212.xml"/><Relationship Id="rId110" Type="http://schemas.openxmlformats.org/officeDocument/2006/relationships/image" Target="../media/image213.png"/><Relationship Id="rId115" Type="http://schemas.openxmlformats.org/officeDocument/2006/relationships/customXml" Target="../ink/ink226.xml"/><Relationship Id="rId131" Type="http://schemas.openxmlformats.org/officeDocument/2006/relationships/customXml" Target="../ink/ink234.xml"/><Relationship Id="rId136" Type="http://schemas.openxmlformats.org/officeDocument/2006/relationships/image" Target="../media/image225.png"/><Relationship Id="rId61" Type="http://schemas.openxmlformats.org/officeDocument/2006/relationships/customXml" Target="../ink/ink200.xml"/><Relationship Id="rId82" Type="http://schemas.openxmlformats.org/officeDocument/2006/relationships/image" Target="../media/image199.png"/><Relationship Id="rId19" Type="http://schemas.openxmlformats.org/officeDocument/2006/relationships/customXml" Target="../ink/ink181.xml"/><Relationship Id="rId14" Type="http://schemas.openxmlformats.org/officeDocument/2006/relationships/image" Target="../media/image1650.png"/><Relationship Id="rId30" Type="http://schemas.openxmlformats.org/officeDocument/2006/relationships/image" Target="../media/image1730.png"/><Relationship Id="rId35" Type="http://schemas.openxmlformats.org/officeDocument/2006/relationships/customXml" Target="../ink/ink187.xml"/><Relationship Id="rId56" Type="http://schemas.openxmlformats.org/officeDocument/2006/relationships/image" Target="../media/image186.png"/><Relationship Id="rId77" Type="http://schemas.openxmlformats.org/officeDocument/2006/relationships/customXml" Target="../ink/ink207.xml"/><Relationship Id="rId100" Type="http://schemas.openxmlformats.org/officeDocument/2006/relationships/image" Target="../media/image208.png"/><Relationship Id="rId105" Type="http://schemas.openxmlformats.org/officeDocument/2006/relationships/customXml" Target="../ink/ink221.xml"/><Relationship Id="rId126" Type="http://schemas.openxmlformats.org/officeDocument/2006/relationships/image" Target="../media/image220.png"/><Relationship Id="rId8" Type="http://schemas.openxmlformats.org/officeDocument/2006/relationships/image" Target="../media/image1620.png"/><Relationship Id="rId51" Type="http://schemas.openxmlformats.org/officeDocument/2006/relationships/customXml" Target="../ink/ink195.xml"/><Relationship Id="rId72" Type="http://schemas.openxmlformats.org/officeDocument/2006/relationships/image" Target="../media/image194.png"/><Relationship Id="rId93" Type="http://schemas.openxmlformats.org/officeDocument/2006/relationships/customXml" Target="../ink/ink215.xml"/><Relationship Id="rId98" Type="http://schemas.openxmlformats.org/officeDocument/2006/relationships/image" Target="../media/image207.png"/><Relationship Id="rId121" Type="http://schemas.openxmlformats.org/officeDocument/2006/relationships/customXml" Target="../ink/ink229.xml"/><Relationship Id="rId142" Type="http://schemas.openxmlformats.org/officeDocument/2006/relationships/image" Target="../media/image228.png"/><Relationship Id="rId3" Type="http://schemas.openxmlformats.org/officeDocument/2006/relationships/customXml" Target="../ink/ink174.xml"/><Relationship Id="rId46" Type="http://schemas.openxmlformats.org/officeDocument/2006/relationships/image" Target="../media/image181.png"/><Relationship Id="rId67" Type="http://schemas.openxmlformats.org/officeDocument/2006/relationships/customXml" Target="../ink/ink202.xml"/><Relationship Id="rId116" Type="http://schemas.openxmlformats.org/officeDocument/2006/relationships/image" Target="../media/image189.png"/><Relationship Id="rId137" Type="http://schemas.openxmlformats.org/officeDocument/2006/relationships/customXml" Target="../ink/ink237.xml"/><Relationship Id="rId20" Type="http://schemas.openxmlformats.org/officeDocument/2006/relationships/image" Target="../media/image1680.png"/><Relationship Id="rId41" Type="http://schemas.openxmlformats.org/officeDocument/2006/relationships/customXml" Target="../ink/ink190.xml"/><Relationship Id="rId83" Type="http://schemas.openxmlformats.org/officeDocument/2006/relationships/customXml" Target="../ink/ink210.xml"/><Relationship Id="rId88" Type="http://schemas.openxmlformats.org/officeDocument/2006/relationships/image" Target="../media/image202.png"/><Relationship Id="rId111" Type="http://schemas.openxmlformats.org/officeDocument/2006/relationships/customXml" Target="../ink/ink224.xml"/><Relationship Id="rId132" Type="http://schemas.openxmlformats.org/officeDocument/2006/relationships/image" Target="../media/image223.png"/><Relationship Id="rId15" Type="http://schemas.openxmlformats.org/officeDocument/2006/relationships/customXml" Target="../ink/ink179.xml"/><Relationship Id="rId36" Type="http://schemas.openxmlformats.org/officeDocument/2006/relationships/image" Target="../media/image1760.png"/><Relationship Id="rId57" Type="http://schemas.openxmlformats.org/officeDocument/2006/relationships/customXml" Target="../ink/ink198.xml"/><Relationship Id="rId106" Type="http://schemas.openxmlformats.org/officeDocument/2006/relationships/image" Target="../media/image211.png"/><Relationship Id="rId127" Type="http://schemas.openxmlformats.org/officeDocument/2006/relationships/customXml" Target="../ink/ink232.xml"/><Relationship Id="rId10" Type="http://schemas.openxmlformats.org/officeDocument/2006/relationships/image" Target="../media/image1630.png"/><Relationship Id="rId31" Type="http://schemas.openxmlformats.org/officeDocument/2006/relationships/customXml" Target="../ink/ink185.xml"/><Relationship Id="rId52" Type="http://schemas.openxmlformats.org/officeDocument/2006/relationships/image" Target="../media/image184.png"/><Relationship Id="rId73" Type="http://schemas.openxmlformats.org/officeDocument/2006/relationships/customXml" Target="../ink/ink205.xml"/><Relationship Id="rId78" Type="http://schemas.openxmlformats.org/officeDocument/2006/relationships/image" Target="../media/image197.png"/><Relationship Id="rId94" Type="http://schemas.openxmlformats.org/officeDocument/2006/relationships/image" Target="../media/image205.png"/><Relationship Id="rId99" Type="http://schemas.openxmlformats.org/officeDocument/2006/relationships/customXml" Target="../ink/ink218.xml"/><Relationship Id="rId101" Type="http://schemas.openxmlformats.org/officeDocument/2006/relationships/customXml" Target="../ink/ink219.xml"/><Relationship Id="rId122" Type="http://schemas.openxmlformats.org/officeDocument/2006/relationships/image" Target="../media/image218.png"/><Relationship Id="rId4" Type="http://schemas.openxmlformats.org/officeDocument/2006/relationships/image" Target="../media/image1600.png"/><Relationship Id="rId9" Type="http://schemas.openxmlformats.org/officeDocument/2006/relationships/customXml" Target="../ink/ink177.xml"/><Relationship Id="rId47" Type="http://schemas.openxmlformats.org/officeDocument/2006/relationships/customXml" Target="../ink/ink193.xml"/><Relationship Id="rId68" Type="http://schemas.openxmlformats.org/officeDocument/2006/relationships/image" Target="../media/image192.png"/><Relationship Id="rId89" Type="http://schemas.openxmlformats.org/officeDocument/2006/relationships/customXml" Target="../ink/ink213.xml"/><Relationship Id="rId112" Type="http://schemas.openxmlformats.org/officeDocument/2006/relationships/image" Target="../media/image214.png"/><Relationship Id="rId133" Type="http://schemas.openxmlformats.org/officeDocument/2006/relationships/customXml" Target="../ink/ink2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E1F9FF2-94B0-94E8-8D4A-4FE95816A7FE}"/>
              </a:ext>
            </a:extLst>
          </p:cNvPr>
          <p:cNvSpPr>
            <a:spLocks noGrp="1"/>
          </p:cNvSpPr>
          <p:nvPr>
            <p:ph idx="1"/>
          </p:nvPr>
        </p:nvSpPr>
        <p:spPr>
          <a:xfrm>
            <a:off x="469900" y="2409826"/>
            <a:ext cx="11252200" cy="2343150"/>
          </a:xfrm>
        </p:spPr>
        <p:txBody>
          <a:bodyPr/>
          <a:lstStyle/>
          <a:p>
            <a:pPr algn="ctr"/>
            <a:r>
              <a:rPr lang="en-US" sz="6000" dirty="0"/>
              <a:t>Customer Service Variance </a:t>
            </a:r>
          </a:p>
          <a:p>
            <a:pPr algn="ctr"/>
            <a:r>
              <a:rPr lang="en-US" sz="6000" dirty="0"/>
              <a:t>(CSV)</a:t>
            </a:r>
          </a:p>
          <a:p>
            <a:endParaRPr lang="en-US" dirty="0"/>
          </a:p>
        </p:txBody>
      </p:sp>
      <p:sp>
        <p:nvSpPr>
          <p:cNvPr id="3" name="Title 2">
            <a:extLst>
              <a:ext uri="{FF2B5EF4-FFF2-40B4-BE49-F238E27FC236}">
                <a16:creationId xmlns:a16="http://schemas.microsoft.com/office/drawing/2014/main" id="{6ABAAA68-551D-F3B7-9B8F-FE0F1DD76088}"/>
              </a:ext>
            </a:extLst>
          </p:cNvPr>
          <p:cNvSpPr>
            <a:spLocks noGrp="1"/>
          </p:cNvSpPr>
          <p:nvPr>
            <p:ph type="title"/>
          </p:nvPr>
        </p:nvSpPr>
        <p:spPr/>
        <p:txBody>
          <a:bodyPr/>
          <a:lstStyle/>
          <a:p>
            <a:r>
              <a:rPr lang="en-US" dirty="0"/>
              <a:t>  </a:t>
            </a:r>
          </a:p>
        </p:txBody>
      </p:sp>
    </p:spTree>
    <p:extLst>
      <p:ext uri="{BB962C8B-B14F-4D97-AF65-F5344CB8AC3E}">
        <p14:creationId xmlns:p14="http://schemas.microsoft.com/office/powerpoint/2010/main" val="161591898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E79F6-4560-F91D-41FE-27DDAA348843}"/>
              </a:ext>
            </a:extLst>
          </p:cNvPr>
          <p:cNvSpPr>
            <a:spLocks noGrp="1"/>
          </p:cNvSpPr>
          <p:nvPr>
            <p:ph type="title"/>
          </p:nvPr>
        </p:nvSpPr>
        <p:spPr>
          <a:xfrm>
            <a:off x="372966" y="3"/>
            <a:ext cx="10512863" cy="513876"/>
          </a:xfrm>
        </p:spPr>
        <p:txBody>
          <a:bodyPr>
            <a:normAutofit/>
          </a:bodyPr>
          <a:lstStyle/>
          <a:p>
            <a:r>
              <a:rPr lang="en-US" sz="2800" dirty="0"/>
              <a:t>CSV Menu - FDB</a:t>
            </a:r>
          </a:p>
        </p:txBody>
      </p:sp>
      <p:sp>
        <p:nvSpPr>
          <p:cNvPr id="5" name="Date Placeholder 4">
            <a:extLst>
              <a:ext uri="{FF2B5EF4-FFF2-40B4-BE49-F238E27FC236}">
                <a16:creationId xmlns:a16="http://schemas.microsoft.com/office/drawing/2014/main" id="{F0A16B0B-8C99-4EF4-EA18-4521BB283160}"/>
              </a:ext>
            </a:extLst>
          </p:cNvPr>
          <p:cNvSpPr>
            <a:spLocks noGrp="1"/>
          </p:cNvSpPr>
          <p:nvPr>
            <p:ph type="dt" sz="half" idx="10"/>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7" name="Picture 6">
            <a:extLst>
              <a:ext uri="{FF2B5EF4-FFF2-40B4-BE49-F238E27FC236}">
                <a16:creationId xmlns:a16="http://schemas.microsoft.com/office/drawing/2014/main" id="{7A96287C-758C-46C1-8BD9-E80E4BEF7F33}"/>
              </a:ext>
            </a:extLst>
          </p:cNvPr>
          <p:cNvPicPr>
            <a:picLocks noChangeAspect="1"/>
          </p:cNvPicPr>
          <p:nvPr/>
        </p:nvPicPr>
        <p:blipFill>
          <a:blip r:embed="rId2"/>
          <a:stretch>
            <a:fillRect/>
          </a:stretch>
        </p:blipFill>
        <p:spPr>
          <a:xfrm>
            <a:off x="5866983" y="736439"/>
            <a:ext cx="5955631" cy="4520851"/>
          </a:xfrm>
          <a:prstGeom prst="rect">
            <a:avLst/>
          </a:prstGeom>
        </p:spPr>
      </p:pic>
      <p:sp>
        <p:nvSpPr>
          <p:cNvPr id="11" name="TextBox 10">
            <a:extLst>
              <a:ext uri="{FF2B5EF4-FFF2-40B4-BE49-F238E27FC236}">
                <a16:creationId xmlns:a16="http://schemas.microsoft.com/office/drawing/2014/main" id="{43156B62-9548-F5F5-2B34-631781608D5D}"/>
              </a:ext>
            </a:extLst>
          </p:cNvPr>
          <p:cNvSpPr txBox="1"/>
          <p:nvPr/>
        </p:nvSpPr>
        <p:spPr>
          <a:xfrm>
            <a:off x="267918" y="1842701"/>
            <a:ext cx="5184559" cy="2308324"/>
          </a:xfrm>
          <a:prstGeom prst="rect">
            <a:avLst/>
          </a:prstGeom>
          <a:noFill/>
        </p:spPr>
        <p:txBody>
          <a:bodyPr wrap="square" lIns="91440" tIns="45720" rIns="91440" bIns="45720" rtlCol="0" anchor="t">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Provides information on Unit Times.</a:t>
            </a:r>
          </a:p>
          <a:p>
            <a:pPr defTabSz="914377"/>
            <a:r>
              <a:rPr lang="en-US" dirty="0">
                <a:solidFill>
                  <a:prstClr val="black"/>
                </a:solidFill>
                <a:latin typeface="Arial" panose="020B0604020202020204"/>
              </a:rPr>
              <a:t> </a:t>
            </a:r>
          </a:p>
          <a:p>
            <a:pPr marL="285744" indent="-285744" defTabSz="914377">
              <a:buFont typeface="Arial" panose="020B0604020202020204" pitchFamily="34" charset="0"/>
              <a:buChar char="•"/>
            </a:pPr>
            <a:r>
              <a:rPr lang="en-US" dirty="0">
                <a:solidFill>
                  <a:prstClr val="black"/>
                </a:solidFill>
                <a:latin typeface="Arial" panose="020B0604020202020204"/>
              </a:rPr>
              <a:t>Facility Database ID associated to the facility/finance number selected is displayed. </a:t>
            </a:r>
          </a:p>
          <a:p>
            <a:pPr defTabSz="914377"/>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Discrepancies are to be reported to the Variance group through the Retail and Post Office Operations Field Support for correction</a:t>
            </a:r>
          </a:p>
        </p:txBody>
      </p:sp>
      <p:sp>
        <p:nvSpPr>
          <p:cNvPr id="12" name="TextBox 11">
            <a:extLst>
              <a:ext uri="{FF2B5EF4-FFF2-40B4-BE49-F238E27FC236}">
                <a16:creationId xmlns:a16="http://schemas.microsoft.com/office/drawing/2014/main" id="{06BFA48D-3093-1D09-B2AB-F3051EBA81DE}"/>
              </a:ext>
            </a:extLst>
          </p:cNvPr>
          <p:cNvSpPr txBox="1"/>
          <p:nvPr/>
        </p:nvSpPr>
        <p:spPr>
          <a:xfrm>
            <a:off x="122188" y="5641154"/>
            <a:ext cx="11947624" cy="369332"/>
          </a:xfrm>
          <a:prstGeom prst="rect">
            <a:avLst/>
          </a:prstGeom>
          <a:noFill/>
        </p:spPr>
        <p:txBody>
          <a:bodyPr wrap="square" rtlCol="0">
            <a:spAutoFit/>
          </a:bodyPr>
          <a:lstStyle/>
          <a:p>
            <a:pPr algn="ctr" defTabSz="914377"/>
            <a:r>
              <a:rPr lang="en-US" b="1" dirty="0">
                <a:solidFill>
                  <a:prstClr val="black"/>
                </a:solidFill>
                <a:latin typeface="Arial" panose="020B0604020202020204"/>
              </a:rPr>
              <a:t>**It is important to verify that the correct FDB ID is displayed so that this facility information is correct</a:t>
            </a: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31B0BC71-D1D6-EE5A-C212-09D15522FFAE}"/>
                  </a:ext>
                </a:extLst>
              </p14:cNvPr>
              <p14:cNvContentPartPr/>
              <p14:nvPr/>
            </p14:nvContentPartPr>
            <p14:xfrm>
              <a:off x="8324734" y="2240922"/>
              <a:ext cx="1105200" cy="18360"/>
            </p14:xfrm>
          </p:contentPart>
        </mc:Choice>
        <mc:Fallback xmlns="">
          <p:pic>
            <p:nvPicPr>
              <p:cNvPr id="4" name="Ink 3">
                <a:extLst>
                  <a:ext uri="{FF2B5EF4-FFF2-40B4-BE49-F238E27FC236}">
                    <a16:creationId xmlns:a16="http://schemas.microsoft.com/office/drawing/2014/main" id="{31B0BC71-D1D6-EE5A-C212-09D15522FFAE}"/>
                  </a:ext>
                </a:extLst>
              </p:cNvPr>
              <p:cNvPicPr/>
              <p:nvPr/>
            </p:nvPicPr>
            <p:blipFill>
              <a:blip r:embed="rId4"/>
              <a:stretch>
                <a:fillRect/>
              </a:stretch>
            </p:blipFill>
            <p:spPr>
              <a:xfrm>
                <a:off x="8289094" y="2169282"/>
                <a:ext cx="1176840" cy="162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6" name="Ink 5">
                <a:extLst>
                  <a:ext uri="{FF2B5EF4-FFF2-40B4-BE49-F238E27FC236}">
                    <a16:creationId xmlns:a16="http://schemas.microsoft.com/office/drawing/2014/main" id="{B507D97B-0410-EE59-378B-5630A964A594}"/>
                  </a:ext>
                </a:extLst>
              </p14:cNvPr>
              <p14:cNvContentPartPr/>
              <p14:nvPr/>
            </p14:nvContentPartPr>
            <p14:xfrm>
              <a:off x="7203694" y="4053882"/>
              <a:ext cx="2320920" cy="72720"/>
            </p14:xfrm>
          </p:contentPart>
        </mc:Choice>
        <mc:Fallback xmlns="">
          <p:pic>
            <p:nvPicPr>
              <p:cNvPr id="6" name="Ink 5">
                <a:extLst>
                  <a:ext uri="{FF2B5EF4-FFF2-40B4-BE49-F238E27FC236}">
                    <a16:creationId xmlns:a16="http://schemas.microsoft.com/office/drawing/2014/main" id="{B507D97B-0410-EE59-378B-5630A964A594}"/>
                  </a:ext>
                </a:extLst>
              </p:cNvPr>
              <p:cNvPicPr/>
              <p:nvPr/>
            </p:nvPicPr>
            <p:blipFill>
              <a:blip r:embed="rId6"/>
              <a:stretch>
                <a:fillRect/>
              </a:stretch>
            </p:blipFill>
            <p:spPr>
              <a:xfrm>
                <a:off x="7167694" y="3982242"/>
                <a:ext cx="2392560" cy="21636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8" name="Ink 7">
                <a:extLst>
                  <a:ext uri="{FF2B5EF4-FFF2-40B4-BE49-F238E27FC236}">
                    <a16:creationId xmlns:a16="http://schemas.microsoft.com/office/drawing/2014/main" id="{C26D382D-ACC8-657F-7209-46F06D8AC315}"/>
                  </a:ext>
                </a:extLst>
              </p14:cNvPr>
              <p14:cNvContentPartPr/>
              <p14:nvPr/>
            </p14:nvContentPartPr>
            <p14:xfrm>
              <a:off x="7211614" y="4012122"/>
              <a:ext cx="2255400" cy="35640"/>
            </p14:xfrm>
          </p:contentPart>
        </mc:Choice>
        <mc:Fallback xmlns="">
          <p:pic>
            <p:nvPicPr>
              <p:cNvPr id="8" name="Ink 7">
                <a:extLst>
                  <a:ext uri="{FF2B5EF4-FFF2-40B4-BE49-F238E27FC236}">
                    <a16:creationId xmlns:a16="http://schemas.microsoft.com/office/drawing/2014/main" id="{C26D382D-ACC8-657F-7209-46F06D8AC315}"/>
                  </a:ext>
                </a:extLst>
              </p:cNvPr>
              <p:cNvPicPr/>
              <p:nvPr/>
            </p:nvPicPr>
            <p:blipFill>
              <a:blip r:embed="rId8"/>
              <a:stretch>
                <a:fillRect/>
              </a:stretch>
            </p:blipFill>
            <p:spPr>
              <a:xfrm>
                <a:off x="7175974" y="3940482"/>
                <a:ext cx="2327040" cy="1792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9" name="Ink 8">
                <a:extLst>
                  <a:ext uri="{FF2B5EF4-FFF2-40B4-BE49-F238E27FC236}">
                    <a16:creationId xmlns:a16="http://schemas.microsoft.com/office/drawing/2014/main" id="{26B7C9E0-8924-2C57-C35F-67B6B0D4B400}"/>
                  </a:ext>
                </a:extLst>
              </p14:cNvPr>
              <p14:cNvContentPartPr/>
              <p14:nvPr/>
            </p14:nvContentPartPr>
            <p14:xfrm>
              <a:off x="7649014" y="4295442"/>
              <a:ext cx="1787760" cy="47880"/>
            </p14:xfrm>
          </p:contentPart>
        </mc:Choice>
        <mc:Fallback xmlns="">
          <p:pic>
            <p:nvPicPr>
              <p:cNvPr id="9" name="Ink 8">
                <a:extLst>
                  <a:ext uri="{FF2B5EF4-FFF2-40B4-BE49-F238E27FC236}">
                    <a16:creationId xmlns:a16="http://schemas.microsoft.com/office/drawing/2014/main" id="{26B7C9E0-8924-2C57-C35F-67B6B0D4B400}"/>
                  </a:ext>
                </a:extLst>
              </p:cNvPr>
              <p:cNvPicPr/>
              <p:nvPr/>
            </p:nvPicPr>
            <p:blipFill>
              <a:blip r:embed="rId10"/>
              <a:stretch>
                <a:fillRect/>
              </a:stretch>
            </p:blipFill>
            <p:spPr>
              <a:xfrm>
                <a:off x="7613374" y="4223442"/>
                <a:ext cx="1859400" cy="19152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0" name="Ink 9">
                <a:extLst>
                  <a:ext uri="{FF2B5EF4-FFF2-40B4-BE49-F238E27FC236}">
                    <a16:creationId xmlns:a16="http://schemas.microsoft.com/office/drawing/2014/main" id="{D8629483-7C57-B611-7409-AC206085DF46}"/>
                  </a:ext>
                </a:extLst>
              </p14:cNvPr>
              <p14:cNvContentPartPr/>
              <p14:nvPr/>
            </p14:nvContentPartPr>
            <p14:xfrm>
              <a:off x="7595734" y="5048562"/>
              <a:ext cx="1971360" cy="106560"/>
            </p14:xfrm>
          </p:contentPart>
        </mc:Choice>
        <mc:Fallback xmlns="">
          <p:pic>
            <p:nvPicPr>
              <p:cNvPr id="10" name="Ink 9">
                <a:extLst>
                  <a:ext uri="{FF2B5EF4-FFF2-40B4-BE49-F238E27FC236}">
                    <a16:creationId xmlns:a16="http://schemas.microsoft.com/office/drawing/2014/main" id="{D8629483-7C57-B611-7409-AC206085DF46}"/>
                  </a:ext>
                </a:extLst>
              </p:cNvPr>
              <p:cNvPicPr/>
              <p:nvPr/>
            </p:nvPicPr>
            <p:blipFill>
              <a:blip r:embed="rId12"/>
              <a:stretch>
                <a:fillRect/>
              </a:stretch>
            </p:blipFill>
            <p:spPr>
              <a:xfrm>
                <a:off x="7559734" y="4976562"/>
                <a:ext cx="2043000" cy="2502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3" name="Ink 12">
                <a:extLst>
                  <a:ext uri="{FF2B5EF4-FFF2-40B4-BE49-F238E27FC236}">
                    <a16:creationId xmlns:a16="http://schemas.microsoft.com/office/drawing/2014/main" id="{5E82BEE1-ADD0-FD7F-282B-C530FB97B959}"/>
                  </a:ext>
                </a:extLst>
              </p14:cNvPr>
              <p14:cNvContentPartPr/>
              <p14:nvPr/>
            </p14:nvContentPartPr>
            <p14:xfrm>
              <a:off x="7211614" y="4150362"/>
              <a:ext cx="2299680" cy="286200"/>
            </p14:xfrm>
          </p:contentPart>
        </mc:Choice>
        <mc:Fallback xmlns="">
          <p:pic>
            <p:nvPicPr>
              <p:cNvPr id="13" name="Ink 12">
                <a:extLst>
                  <a:ext uri="{FF2B5EF4-FFF2-40B4-BE49-F238E27FC236}">
                    <a16:creationId xmlns:a16="http://schemas.microsoft.com/office/drawing/2014/main" id="{5E82BEE1-ADD0-FD7F-282B-C530FB97B959}"/>
                  </a:ext>
                </a:extLst>
              </p:cNvPr>
              <p:cNvPicPr/>
              <p:nvPr/>
            </p:nvPicPr>
            <p:blipFill>
              <a:blip r:embed="rId14"/>
              <a:stretch>
                <a:fillRect/>
              </a:stretch>
            </p:blipFill>
            <p:spPr>
              <a:xfrm>
                <a:off x="7175974" y="4078362"/>
                <a:ext cx="2371320" cy="42984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4" name="Ink 13">
                <a:extLst>
                  <a:ext uri="{FF2B5EF4-FFF2-40B4-BE49-F238E27FC236}">
                    <a16:creationId xmlns:a16="http://schemas.microsoft.com/office/drawing/2014/main" id="{161D8E5A-1C14-0595-EA2D-E1118591DA1F}"/>
                  </a:ext>
                </a:extLst>
              </p14:cNvPr>
              <p14:cNvContentPartPr/>
              <p14:nvPr/>
            </p14:nvContentPartPr>
            <p14:xfrm>
              <a:off x="8316814" y="2177562"/>
              <a:ext cx="1188000" cy="145080"/>
            </p14:xfrm>
          </p:contentPart>
        </mc:Choice>
        <mc:Fallback xmlns="">
          <p:pic>
            <p:nvPicPr>
              <p:cNvPr id="14" name="Ink 13">
                <a:extLst>
                  <a:ext uri="{FF2B5EF4-FFF2-40B4-BE49-F238E27FC236}">
                    <a16:creationId xmlns:a16="http://schemas.microsoft.com/office/drawing/2014/main" id="{161D8E5A-1C14-0595-EA2D-E1118591DA1F}"/>
                  </a:ext>
                </a:extLst>
              </p:cNvPr>
              <p:cNvPicPr/>
              <p:nvPr/>
            </p:nvPicPr>
            <p:blipFill>
              <a:blip r:embed="rId16"/>
              <a:stretch>
                <a:fillRect/>
              </a:stretch>
            </p:blipFill>
            <p:spPr>
              <a:xfrm>
                <a:off x="8280814" y="2105562"/>
                <a:ext cx="1259640" cy="28872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5" name="Ink 14">
                <a:extLst>
                  <a:ext uri="{FF2B5EF4-FFF2-40B4-BE49-F238E27FC236}">
                    <a16:creationId xmlns:a16="http://schemas.microsoft.com/office/drawing/2014/main" id="{A11F951D-3CB7-3215-DAA5-7AE100CEF271}"/>
                  </a:ext>
                </a:extLst>
              </p14:cNvPr>
              <p14:cNvContentPartPr/>
              <p14:nvPr/>
            </p14:nvContentPartPr>
            <p14:xfrm>
              <a:off x="11241814" y="2830602"/>
              <a:ext cx="605880" cy="430560"/>
            </p14:xfrm>
          </p:contentPart>
        </mc:Choice>
        <mc:Fallback xmlns="">
          <p:pic>
            <p:nvPicPr>
              <p:cNvPr id="15" name="Ink 14">
                <a:extLst>
                  <a:ext uri="{FF2B5EF4-FFF2-40B4-BE49-F238E27FC236}">
                    <a16:creationId xmlns:a16="http://schemas.microsoft.com/office/drawing/2014/main" id="{A11F951D-3CB7-3215-DAA5-7AE100CEF271}"/>
                  </a:ext>
                </a:extLst>
              </p:cNvPr>
              <p:cNvPicPr/>
              <p:nvPr/>
            </p:nvPicPr>
            <p:blipFill>
              <a:blip r:embed="rId18"/>
              <a:stretch>
                <a:fillRect/>
              </a:stretch>
            </p:blipFill>
            <p:spPr>
              <a:xfrm>
                <a:off x="11235694" y="2824482"/>
                <a:ext cx="618120" cy="4428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6" name="Ink 15">
                <a:extLst>
                  <a:ext uri="{FF2B5EF4-FFF2-40B4-BE49-F238E27FC236}">
                    <a16:creationId xmlns:a16="http://schemas.microsoft.com/office/drawing/2014/main" id="{6A3DCCA7-4C47-4643-C86D-4A7046783FAA}"/>
                  </a:ext>
                </a:extLst>
              </p14:cNvPr>
              <p14:cNvContentPartPr/>
              <p14:nvPr/>
            </p14:nvContentPartPr>
            <p14:xfrm>
              <a:off x="11391934" y="3823842"/>
              <a:ext cx="473400" cy="493560"/>
            </p14:xfrm>
          </p:contentPart>
        </mc:Choice>
        <mc:Fallback xmlns="">
          <p:pic>
            <p:nvPicPr>
              <p:cNvPr id="16" name="Ink 15">
                <a:extLst>
                  <a:ext uri="{FF2B5EF4-FFF2-40B4-BE49-F238E27FC236}">
                    <a16:creationId xmlns:a16="http://schemas.microsoft.com/office/drawing/2014/main" id="{6A3DCCA7-4C47-4643-C86D-4A7046783FAA}"/>
                  </a:ext>
                </a:extLst>
              </p:cNvPr>
              <p:cNvPicPr/>
              <p:nvPr/>
            </p:nvPicPr>
            <p:blipFill>
              <a:blip r:embed="rId20"/>
              <a:stretch>
                <a:fillRect/>
              </a:stretch>
            </p:blipFill>
            <p:spPr>
              <a:xfrm>
                <a:off x="11385814" y="3817722"/>
                <a:ext cx="485640" cy="5058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7" name="Ink 16">
                <a:extLst>
                  <a:ext uri="{FF2B5EF4-FFF2-40B4-BE49-F238E27FC236}">
                    <a16:creationId xmlns:a16="http://schemas.microsoft.com/office/drawing/2014/main" id="{B5920420-8D37-FCF7-6746-5974AA4F6F48}"/>
                  </a:ext>
                </a:extLst>
              </p14:cNvPr>
              <p14:cNvContentPartPr/>
              <p14:nvPr/>
            </p14:nvContentPartPr>
            <p14:xfrm>
              <a:off x="10073254" y="3760122"/>
              <a:ext cx="1377360" cy="97200"/>
            </p14:xfrm>
          </p:contentPart>
        </mc:Choice>
        <mc:Fallback xmlns="">
          <p:pic>
            <p:nvPicPr>
              <p:cNvPr id="17" name="Ink 16">
                <a:extLst>
                  <a:ext uri="{FF2B5EF4-FFF2-40B4-BE49-F238E27FC236}">
                    <a16:creationId xmlns:a16="http://schemas.microsoft.com/office/drawing/2014/main" id="{B5920420-8D37-FCF7-6746-5974AA4F6F48}"/>
                  </a:ext>
                </a:extLst>
              </p:cNvPr>
              <p:cNvPicPr/>
              <p:nvPr/>
            </p:nvPicPr>
            <p:blipFill>
              <a:blip r:embed="rId22"/>
              <a:stretch>
                <a:fillRect/>
              </a:stretch>
            </p:blipFill>
            <p:spPr>
              <a:xfrm>
                <a:off x="10037254" y="3688482"/>
                <a:ext cx="1449000" cy="24084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8" name="Ink 17">
                <a:extLst>
                  <a:ext uri="{FF2B5EF4-FFF2-40B4-BE49-F238E27FC236}">
                    <a16:creationId xmlns:a16="http://schemas.microsoft.com/office/drawing/2014/main" id="{DB21DFB8-1A68-D351-40B8-CA4DF3B55E9D}"/>
                  </a:ext>
                </a:extLst>
              </p14:cNvPr>
              <p14:cNvContentPartPr/>
              <p14:nvPr/>
            </p14:nvContentPartPr>
            <p14:xfrm>
              <a:off x="9561694" y="2741682"/>
              <a:ext cx="2066400" cy="74520"/>
            </p14:xfrm>
          </p:contentPart>
        </mc:Choice>
        <mc:Fallback xmlns="">
          <p:pic>
            <p:nvPicPr>
              <p:cNvPr id="18" name="Ink 17">
                <a:extLst>
                  <a:ext uri="{FF2B5EF4-FFF2-40B4-BE49-F238E27FC236}">
                    <a16:creationId xmlns:a16="http://schemas.microsoft.com/office/drawing/2014/main" id="{DB21DFB8-1A68-D351-40B8-CA4DF3B55E9D}"/>
                  </a:ext>
                </a:extLst>
              </p:cNvPr>
              <p:cNvPicPr/>
              <p:nvPr/>
            </p:nvPicPr>
            <p:blipFill>
              <a:blip r:embed="rId24"/>
              <a:stretch>
                <a:fillRect/>
              </a:stretch>
            </p:blipFill>
            <p:spPr>
              <a:xfrm>
                <a:off x="9525694" y="2670042"/>
                <a:ext cx="2138040" cy="218160"/>
              </a:xfrm>
              <a:prstGeom prst="rect">
                <a:avLst/>
              </a:prstGeom>
            </p:spPr>
          </p:pic>
        </mc:Fallback>
      </mc:AlternateContent>
    </p:spTree>
    <p:extLst>
      <p:ext uri="{BB962C8B-B14F-4D97-AF65-F5344CB8AC3E}">
        <p14:creationId xmlns:p14="http://schemas.microsoft.com/office/powerpoint/2010/main" val="1629200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DE96118-7225-13D7-E003-B587BED177A9}"/>
              </a:ext>
            </a:extLst>
          </p:cNvPr>
          <p:cNvSpPr>
            <a:spLocks noGrp="1"/>
          </p:cNvSpPr>
          <p:nvPr>
            <p:ph type="dt" sz="half" idx="2"/>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sp>
        <p:nvSpPr>
          <p:cNvPr id="9" name="Title 1">
            <a:extLst>
              <a:ext uri="{FF2B5EF4-FFF2-40B4-BE49-F238E27FC236}">
                <a16:creationId xmlns:a16="http://schemas.microsoft.com/office/drawing/2014/main" id="{26044ED5-CF9B-414B-5E78-309D0CDF9886}"/>
              </a:ext>
            </a:extLst>
          </p:cNvPr>
          <p:cNvSpPr>
            <a:spLocks noGrp="1"/>
          </p:cNvSpPr>
          <p:nvPr>
            <p:ph type="title"/>
          </p:nvPr>
        </p:nvSpPr>
        <p:spPr>
          <a:xfrm>
            <a:off x="373065" y="0"/>
            <a:ext cx="10512425" cy="700088"/>
          </a:xfrm>
        </p:spPr>
        <p:txBody>
          <a:bodyPr>
            <a:normAutofit/>
          </a:bodyPr>
          <a:lstStyle/>
          <a:p>
            <a:r>
              <a:rPr lang="en-US" sz="2800" dirty="0"/>
              <a:t>FTES Daily Staffing Analysis</a:t>
            </a:r>
          </a:p>
        </p:txBody>
      </p:sp>
      <p:pic>
        <p:nvPicPr>
          <p:cNvPr id="2" name="Picture 1">
            <a:extLst>
              <a:ext uri="{FF2B5EF4-FFF2-40B4-BE49-F238E27FC236}">
                <a16:creationId xmlns:a16="http://schemas.microsoft.com/office/drawing/2014/main" id="{9F08B6A9-DADB-5389-FDFD-BE4A9C018D62}"/>
              </a:ext>
            </a:extLst>
          </p:cNvPr>
          <p:cNvPicPr>
            <a:picLocks noChangeAspect="1"/>
          </p:cNvPicPr>
          <p:nvPr/>
        </p:nvPicPr>
        <p:blipFill rotWithShape="1">
          <a:blip r:embed="rId2"/>
          <a:srcRect l="1161" t="8049" r="656"/>
          <a:stretch/>
        </p:blipFill>
        <p:spPr>
          <a:xfrm>
            <a:off x="451871" y="3566641"/>
            <a:ext cx="10740043" cy="1214111"/>
          </a:xfrm>
          <a:prstGeom prst="rect">
            <a:avLst/>
          </a:prstGeom>
        </p:spPr>
      </p:pic>
      <p:sp>
        <p:nvSpPr>
          <p:cNvPr id="5" name="TextBox 4">
            <a:extLst>
              <a:ext uri="{FF2B5EF4-FFF2-40B4-BE49-F238E27FC236}">
                <a16:creationId xmlns:a16="http://schemas.microsoft.com/office/drawing/2014/main" id="{043C3F1E-8E60-ABC8-80FF-699F28DE8262}"/>
              </a:ext>
            </a:extLst>
          </p:cNvPr>
          <p:cNvSpPr txBox="1"/>
          <p:nvPr/>
        </p:nvSpPr>
        <p:spPr>
          <a:xfrm>
            <a:off x="151121" y="1144744"/>
            <a:ext cx="8955584" cy="2584297"/>
          </a:xfrm>
          <a:prstGeom prst="rect">
            <a:avLst/>
          </a:prstGeom>
          <a:noFill/>
        </p:spPr>
        <p:txBody>
          <a:bodyPr wrap="square" rtlCol="0">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Comparison of actual vs. earned and benchmark FTES</a:t>
            </a:r>
          </a:p>
          <a:p>
            <a:pPr marL="285744" indent="-285744" defTabSz="914377">
              <a:buFont typeface="Arial" panose="020B0604020202020204" pitchFamily="34" charset="0"/>
              <a:buChar char="•"/>
            </a:pPr>
            <a:endParaRPr lang="en-US" sz="1799" dirty="0">
              <a:solidFill>
                <a:prstClr val="black"/>
              </a:solidFill>
              <a:latin typeface="Arial" panose="020B0604020202020204"/>
            </a:endParaRPr>
          </a:p>
          <a:p>
            <a:pPr marL="285744" indent="-285744" defTabSz="914377">
              <a:buFont typeface="Arial" panose="020B0604020202020204" pitchFamily="34" charset="0"/>
              <a:buChar char="•"/>
            </a:pPr>
            <a:r>
              <a:rPr lang="en-US" sz="1799" b="1" dirty="0">
                <a:solidFill>
                  <a:prstClr val="black"/>
                </a:solidFill>
                <a:latin typeface="Arial" panose="020B0604020202020204"/>
              </a:rPr>
              <a:t>Earned FTES- </a:t>
            </a:r>
            <a:r>
              <a:rPr lang="en-US" sz="1799" dirty="0">
                <a:solidFill>
                  <a:prstClr val="black"/>
                </a:solidFill>
                <a:latin typeface="Arial" panose="020B0604020202020204"/>
              </a:rPr>
              <a:t>Calculated by dividing the total earned hours by 6.6179 divided by number of days for the report period </a:t>
            </a:r>
          </a:p>
          <a:p>
            <a:pPr marL="285744" indent="-285744" defTabSz="914377">
              <a:buFont typeface="Arial" panose="020B0604020202020204" pitchFamily="34" charset="0"/>
              <a:buChar char="•"/>
            </a:pPr>
            <a:endParaRPr lang="en-US" sz="1799" b="1" dirty="0">
              <a:solidFill>
                <a:prstClr val="black"/>
              </a:solidFill>
              <a:latin typeface="Arial" panose="020B0604020202020204"/>
            </a:endParaRPr>
          </a:p>
          <a:p>
            <a:pPr marL="285744" indent="-285744" defTabSz="914377">
              <a:buFont typeface="Arial" panose="020B0604020202020204" pitchFamily="34" charset="0"/>
              <a:buChar char="•"/>
            </a:pPr>
            <a:r>
              <a:rPr lang="en-US" sz="1799" b="1" dirty="0">
                <a:solidFill>
                  <a:prstClr val="black"/>
                </a:solidFill>
                <a:latin typeface="Arial" panose="020B0604020202020204"/>
              </a:rPr>
              <a:t>Actual FTES- </a:t>
            </a:r>
            <a:r>
              <a:rPr lang="en-US" sz="1799" dirty="0">
                <a:solidFill>
                  <a:prstClr val="black"/>
                </a:solidFill>
                <a:latin typeface="Arial" panose="020B0604020202020204"/>
              </a:rPr>
              <a:t>Calculated by dividing the total earned hours by 6.6179 divided by number of days for the report period </a:t>
            </a:r>
          </a:p>
          <a:p>
            <a:pPr marL="285744" indent="-285744" defTabSz="914377">
              <a:buFont typeface="Arial" panose="020B0604020202020204" pitchFamily="34" charset="0"/>
              <a:buChar char="•"/>
            </a:pPr>
            <a:r>
              <a:rPr lang="en-US" sz="1799" dirty="0">
                <a:solidFill>
                  <a:srgbClr val="FF0000"/>
                </a:solidFill>
                <a:latin typeface="Arial" panose="020B0604020202020204"/>
              </a:rPr>
              <a:t>Need to reduce hours</a:t>
            </a:r>
          </a:p>
          <a:p>
            <a:pPr defTabSz="914377"/>
            <a:endParaRPr lang="en-US" sz="1799" dirty="0">
              <a:solidFill>
                <a:prstClr val="black"/>
              </a:solidFill>
              <a:latin typeface="Arial" panose="020B0604020202020204"/>
            </a:endParaRPr>
          </a:p>
        </p:txBody>
      </p:sp>
    </p:spTree>
    <p:extLst>
      <p:ext uri="{BB962C8B-B14F-4D97-AF65-F5344CB8AC3E}">
        <p14:creationId xmlns:p14="http://schemas.microsoft.com/office/powerpoint/2010/main" val="27693759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23462-A207-268C-8B82-C4714714F785}"/>
              </a:ext>
            </a:extLst>
          </p:cNvPr>
          <p:cNvSpPr>
            <a:spLocks noGrp="1"/>
          </p:cNvSpPr>
          <p:nvPr>
            <p:ph type="title"/>
          </p:nvPr>
        </p:nvSpPr>
        <p:spPr>
          <a:xfrm>
            <a:off x="372966" y="3"/>
            <a:ext cx="10512863" cy="546119"/>
          </a:xfrm>
        </p:spPr>
        <p:txBody>
          <a:bodyPr>
            <a:normAutofit/>
          </a:bodyPr>
          <a:lstStyle/>
          <a:p>
            <a:r>
              <a:rPr lang="en-US" sz="2800" dirty="0"/>
              <a:t>CSV Menu</a:t>
            </a:r>
          </a:p>
        </p:txBody>
      </p:sp>
      <p:sp>
        <p:nvSpPr>
          <p:cNvPr id="4" name="Date Placeholder 3">
            <a:extLst>
              <a:ext uri="{FF2B5EF4-FFF2-40B4-BE49-F238E27FC236}">
                <a16:creationId xmlns:a16="http://schemas.microsoft.com/office/drawing/2014/main" id="{F9228C0A-6AD5-38E5-9DD5-355A0476273A}"/>
              </a:ext>
            </a:extLst>
          </p:cNvPr>
          <p:cNvSpPr>
            <a:spLocks noGrp="1"/>
          </p:cNvSpPr>
          <p:nvPr>
            <p:ph type="dt" sz="half" idx="2"/>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7" name="Picture 6">
            <a:extLst>
              <a:ext uri="{FF2B5EF4-FFF2-40B4-BE49-F238E27FC236}">
                <a16:creationId xmlns:a16="http://schemas.microsoft.com/office/drawing/2014/main" id="{5A341580-9E9A-CEEF-6BDC-3F154DA1A69E}"/>
              </a:ext>
            </a:extLst>
          </p:cNvPr>
          <p:cNvPicPr>
            <a:picLocks noChangeAspect="1"/>
          </p:cNvPicPr>
          <p:nvPr/>
        </p:nvPicPr>
        <p:blipFill rotWithShape="1">
          <a:blip r:embed="rId2"/>
          <a:srcRect r="1000" b="885"/>
          <a:stretch/>
        </p:blipFill>
        <p:spPr>
          <a:xfrm>
            <a:off x="372965" y="546121"/>
            <a:ext cx="5723859" cy="5517795"/>
          </a:xfrm>
          <a:prstGeom prst="rect">
            <a:avLst/>
          </a:prstGeom>
          <a:ln>
            <a:solidFill>
              <a:schemeClr val="tx1"/>
            </a:solidFill>
          </a:ln>
        </p:spPr>
      </p:pic>
      <p:pic>
        <p:nvPicPr>
          <p:cNvPr id="9" name="Picture 8">
            <a:extLst>
              <a:ext uri="{FF2B5EF4-FFF2-40B4-BE49-F238E27FC236}">
                <a16:creationId xmlns:a16="http://schemas.microsoft.com/office/drawing/2014/main" id="{61DE6235-18F0-78A4-DB95-3EC244E87A52}"/>
              </a:ext>
            </a:extLst>
          </p:cNvPr>
          <p:cNvPicPr>
            <a:picLocks noChangeAspect="1"/>
          </p:cNvPicPr>
          <p:nvPr/>
        </p:nvPicPr>
        <p:blipFill>
          <a:blip r:embed="rId3"/>
          <a:stretch>
            <a:fillRect/>
          </a:stretch>
        </p:blipFill>
        <p:spPr>
          <a:xfrm>
            <a:off x="8166440" y="1533525"/>
            <a:ext cx="1152525" cy="457200"/>
          </a:xfrm>
          <a:prstGeom prst="rect">
            <a:avLst/>
          </a:prstGeom>
        </p:spPr>
      </p:pic>
      <p:sp>
        <p:nvSpPr>
          <p:cNvPr id="10" name="TextBox 9">
            <a:extLst>
              <a:ext uri="{FF2B5EF4-FFF2-40B4-BE49-F238E27FC236}">
                <a16:creationId xmlns:a16="http://schemas.microsoft.com/office/drawing/2014/main" id="{0DC0AB38-94E8-763D-F910-D0F81F4AF7A4}"/>
              </a:ext>
            </a:extLst>
          </p:cNvPr>
          <p:cNvSpPr txBox="1"/>
          <p:nvPr/>
        </p:nvSpPr>
        <p:spPr>
          <a:xfrm>
            <a:off x="6411914" y="3429002"/>
            <a:ext cx="3105151" cy="923330"/>
          </a:xfrm>
          <a:prstGeom prst="rect">
            <a:avLst/>
          </a:prstGeom>
          <a:noFill/>
        </p:spPr>
        <p:txBody>
          <a:bodyPr wrap="square" rtlCol="0">
            <a:spAutoFit/>
          </a:bodyPr>
          <a:lstStyle/>
          <a:p>
            <a:pPr defTabSz="914377"/>
            <a:r>
              <a:rPr lang="en-US" dirty="0">
                <a:solidFill>
                  <a:prstClr val="black"/>
                </a:solidFill>
                <a:latin typeface="Arial" panose="020B0604020202020204"/>
              </a:rPr>
              <a:t>Hovering over this icon will open more options, for further analysis</a:t>
            </a:r>
          </a:p>
        </p:txBody>
      </p:sp>
      <p:cxnSp>
        <p:nvCxnSpPr>
          <p:cNvPr id="12" name="Straight Arrow Connector 11">
            <a:extLst>
              <a:ext uri="{FF2B5EF4-FFF2-40B4-BE49-F238E27FC236}">
                <a16:creationId xmlns:a16="http://schemas.microsoft.com/office/drawing/2014/main" id="{C19DC634-DFAA-5E69-C9A9-25AFECCCAC0C}"/>
              </a:ext>
            </a:extLst>
          </p:cNvPr>
          <p:cNvCxnSpPr>
            <a:cxnSpLocks/>
          </p:cNvCxnSpPr>
          <p:nvPr/>
        </p:nvCxnSpPr>
        <p:spPr>
          <a:xfrm flipV="1">
            <a:off x="7707313" y="1990726"/>
            <a:ext cx="752475" cy="128355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75732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a:xfrm>
            <a:off x="372966" y="3"/>
            <a:ext cx="10512863" cy="484632"/>
          </a:xfrm>
        </p:spPr>
        <p:txBody>
          <a:bodyPr>
            <a:normAutofit/>
          </a:bodyPr>
          <a:lstStyle/>
          <a:p>
            <a:r>
              <a:rPr lang="en-US" sz="2800" dirty="0"/>
              <a:t>CSV Other Reports - Menu</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5" name="Picture 4">
            <a:extLst>
              <a:ext uri="{FF2B5EF4-FFF2-40B4-BE49-F238E27FC236}">
                <a16:creationId xmlns:a16="http://schemas.microsoft.com/office/drawing/2014/main" id="{E04E7808-83AF-3645-0F9B-9CCFC6B41418}"/>
              </a:ext>
            </a:extLst>
          </p:cNvPr>
          <p:cNvPicPr>
            <a:picLocks noChangeAspect="1"/>
          </p:cNvPicPr>
          <p:nvPr/>
        </p:nvPicPr>
        <p:blipFill rotWithShape="1">
          <a:blip r:embed="rId2"/>
          <a:srcRect r="1000" b="885"/>
          <a:stretch/>
        </p:blipFill>
        <p:spPr>
          <a:xfrm>
            <a:off x="372965" y="484633"/>
            <a:ext cx="5723859" cy="5579283"/>
          </a:xfrm>
          <a:prstGeom prst="rect">
            <a:avLst/>
          </a:prstGeom>
          <a:ln>
            <a:solidFill>
              <a:schemeClr val="tx1"/>
            </a:solidFill>
          </a:ln>
        </p:spPr>
      </p:pic>
      <p:pic>
        <p:nvPicPr>
          <p:cNvPr id="10" name="Picture 9">
            <a:extLst>
              <a:ext uri="{FF2B5EF4-FFF2-40B4-BE49-F238E27FC236}">
                <a16:creationId xmlns:a16="http://schemas.microsoft.com/office/drawing/2014/main" id="{90337368-FEBD-58F3-E88B-7AC1DF2305C5}"/>
              </a:ext>
            </a:extLst>
          </p:cNvPr>
          <p:cNvPicPr>
            <a:picLocks noChangeAspect="1"/>
          </p:cNvPicPr>
          <p:nvPr/>
        </p:nvPicPr>
        <p:blipFill>
          <a:blip r:embed="rId3"/>
          <a:stretch>
            <a:fillRect/>
          </a:stretch>
        </p:blipFill>
        <p:spPr>
          <a:xfrm>
            <a:off x="10906975" y="1236123"/>
            <a:ext cx="978408" cy="3133551"/>
          </a:xfrm>
          <a:prstGeom prst="rect">
            <a:avLst/>
          </a:prstGeom>
        </p:spPr>
      </p:pic>
      <p:cxnSp>
        <p:nvCxnSpPr>
          <p:cNvPr id="12" name="Straight Arrow Connector 11">
            <a:extLst>
              <a:ext uri="{FF2B5EF4-FFF2-40B4-BE49-F238E27FC236}">
                <a16:creationId xmlns:a16="http://schemas.microsoft.com/office/drawing/2014/main" id="{0E52DFFD-9FEE-9CA9-985A-0598CCFA74BF}"/>
              </a:ext>
            </a:extLst>
          </p:cNvPr>
          <p:cNvCxnSpPr>
            <a:cxnSpLocks/>
          </p:cNvCxnSpPr>
          <p:nvPr/>
        </p:nvCxnSpPr>
        <p:spPr>
          <a:xfrm flipV="1">
            <a:off x="9807624" y="1359569"/>
            <a:ext cx="970784" cy="12344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1763D094-68D7-AF3A-998A-E698797F7F7A}"/>
              </a:ext>
            </a:extLst>
          </p:cNvPr>
          <p:cNvSpPr/>
          <p:nvPr/>
        </p:nvSpPr>
        <p:spPr>
          <a:xfrm>
            <a:off x="10860838" y="1236125"/>
            <a:ext cx="1003399" cy="24688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latin typeface="Arial" panose="020B0604020202020204"/>
            </a:endParaRPr>
          </a:p>
        </p:txBody>
      </p:sp>
      <p:sp>
        <p:nvSpPr>
          <p:cNvPr id="18" name="TextBox 17">
            <a:extLst>
              <a:ext uri="{FF2B5EF4-FFF2-40B4-BE49-F238E27FC236}">
                <a16:creationId xmlns:a16="http://schemas.microsoft.com/office/drawing/2014/main" id="{136A1B7F-14BD-94C4-096F-E1E1DC8DB698}"/>
              </a:ext>
            </a:extLst>
          </p:cNvPr>
          <p:cNvSpPr txBox="1"/>
          <p:nvPr/>
        </p:nvSpPr>
        <p:spPr>
          <a:xfrm>
            <a:off x="6225392" y="953353"/>
            <a:ext cx="3931653" cy="4801314"/>
          </a:xfrm>
          <a:prstGeom prst="rect">
            <a:avLst/>
          </a:prstGeom>
          <a:noFill/>
        </p:spPr>
        <p:txBody>
          <a:bodyPr wrap="square" rtlCol="0">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Provides additional supporting reports and data</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Available menu options will vary depending on the unit selected</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Items in menu allows a deeper view into the data and workload related to LDC 42, 45 &amp; 48</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Provides a deeper analysis of complement, productivity factors, workload analysis and other workstreams specific to the office selected</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defTabSz="914377"/>
            <a:endParaRPr lang="en-US" b="1" dirty="0">
              <a:solidFill>
                <a:prstClr val="black"/>
              </a:solidFill>
              <a:latin typeface="Arial" panose="020B0604020202020204"/>
            </a:endParaRPr>
          </a:p>
        </p:txBody>
      </p:sp>
    </p:spTree>
    <p:extLst>
      <p:ext uri="{BB962C8B-B14F-4D97-AF65-F5344CB8AC3E}">
        <p14:creationId xmlns:p14="http://schemas.microsoft.com/office/powerpoint/2010/main" val="2373066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C5C106-EEF5-4E2E-B8BF-D877C35B23D4}"/>
              </a:ext>
            </a:extLst>
          </p:cNvPr>
          <p:cNvSpPr>
            <a:spLocks noGrp="1"/>
          </p:cNvSpPr>
          <p:nvPr>
            <p:ph type="title"/>
          </p:nvPr>
        </p:nvSpPr>
        <p:spPr>
          <a:xfrm>
            <a:off x="372966" y="1"/>
            <a:ext cx="10512863" cy="559219"/>
          </a:xfrm>
        </p:spPr>
        <p:txBody>
          <a:bodyPr>
            <a:normAutofit/>
          </a:bodyPr>
          <a:lstStyle/>
          <a:p>
            <a:r>
              <a:rPr lang="en-US" sz="2800" dirty="0">
                <a:latin typeface="Arial"/>
                <a:cs typeface="Arial"/>
              </a:rPr>
              <a:t>CSV Menu - Complement Model</a:t>
            </a:r>
          </a:p>
        </p:txBody>
      </p:sp>
      <p:sp>
        <p:nvSpPr>
          <p:cNvPr id="2" name="Date Placeholder 1">
            <a:extLst>
              <a:ext uri="{FF2B5EF4-FFF2-40B4-BE49-F238E27FC236}">
                <a16:creationId xmlns:a16="http://schemas.microsoft.com/office/drawing/2014/main" id="{D424D707-6AF0-4C9E-A64C-BB3842455117}"/>
              </a:ext>
            </a:extLst>
          </p:cNvPr>
          <p:cNvSpPr>
            <a:spLocks noGrp="1"/>
          </p:cNvSpPr>
          <p:nvPr>
            <p:ph type="dt" sz="half" idx="10"/>
          </p:nvPr>
        </p:nvSpPr>
        <p:spPr/>
        <p:txBody>
          <a:bodyPr/>
          <a:lstStyle/>
          <a:p>
            <a:pPr defTabSz="914377"/>
            <a:fld id="{43ACE9E7-3519-403D-B8AD-37C6955B079A}"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6" name="Picture 5">
            <a:extLst>
              <a:ext uri="{FF2B5EF4-FFF2-40B4-BE49-F238E27FC236}">
                <a16:creationId xmlns:a16="http://schemas.microsoft.com/office/drawing/2014/main" id="{4D13C330-8362-ECB4-7E55-6DF2D2C65EE7}"/>
              </a:ext>
            </a:extLst>
          </p:cNvPr>
          <p:cNvPicPr>
            <a:picLocks noChangeAspect="1"/>
          </p:cNvPicPr>
          <p:nvPr/>
        </p:nvPicPr>
        <p:blipFill>
          <a:blip r:embed="rId2"/>
          <a:stretch>
            <a:fillRect/>
          </a:stretch>
        </p:blipFill>
        <p:spPr>
          <a:xfrm>
            <a:off x="3440959" y="589198"/>
            <a:ext cx="5310083" cy="5385351"/>
          </a:xfrm>
          <a:prstGeom prst="rect">
            <a:avLst/>
          </a:prstGeom>
        </p:spPr>
      </p:pic>
      <p:sp>
        <p:nvSpPr>
          <p:cNvPr id="29" name="TextBox 28">
            <a:extLst>
              <a:ext uri="{FF2B5EF4-FFF2-40B4-BE49-F238E27FC236}">
                <a16:creationId xmlns:a16="http://schemas.microsoft.com/office/drawing/2014/main" id="{B73E90A1-0CB4-1D6C-06A0-5D644C603B5E}"/>
              </a:ext>
            </a:extLst>
          </p:cNvPr>
          <p:cNvSpPr txBox="1"/>
          <p:nvPr/>
        </p:nvSpPr>
        <p:spPr>
          <a:xfrm>
            <a:off x="38679" y="1076051"/>
            <a:ext cx="3151279" cy="2031325"/>
          </a:xfrm>
          <a:prstGeom prst="rect">
            <a:avLst/>
          </a:prstGeom>
          <a:noFill/>
        </p:spPr>
        <p:txBody>
          <a:bodyPr wrap="square" rtlCol="0">
            <a:spAutoFit/>
          </a:bodyPr>
          <a:lstStyle/>
          <a:p>
            <a:pPr defTabSz="914377"/>
            <a:r>
              <a:rPr lang="en-US" b="1" dirty="0">
                <a:solidFill>
                  <a:prstClr val="black"/>
                </a:solidFill>
                <a:latin typeface="Arial" panose="020B0604020202020204"/>
              </a:rPr>
              <a:t>Leave Replacement-</a:t>
            </a:r>
          </a:p>
          <a:p>
            <a:pPr marL="742932" lvl="1" indent="-285744" defTabSz="914377">
              <a:buFont typeface="Arial" panose="020B0604020202020204" pitchFamily="34" charset="0"/>
              <a:buChar char="•"/>
            </a:pPr>
            <a:r>
              <a:rPr lang="en-US" dirty="0">
                <a:solidFill>
                  <a:prstClr val="black"/>
                </a:solidFill>
                <a:latin typeface="Arial" panose="020B0604020202020204"/>
              </a:rPr>
              <a:t>Calculated by type of leave and overtime percentages times the average daily earned hours</a:t>
            </a:r>
          </a:p>
          <a:p>
            <a:pPr defTabSz="914377"/>
            <a:endParaRPr lang="en-US" dirty="0">
              <a:solidFill>
                <a:prstClr val="black"/>
              </a:solidFill>
              <a:latin typeface="Arial" panose="020B0604020202020204"/>
            </a:endParaRPr>
          </a:p>
        </p:txBody>
      </p:sp>
      <p:cxnSp>
        <p:nvCxnSpPr>
          <p:cNvPr id="30" name="Straight Arrow Connector 29">
            <a:extLst>
              <a:ext uri="{FF2B5EF4-FFF2-40B4-BE49-F238E27FC236}">
                <a16:creationId xmlns:a16="http://schemas.microsoft.com/office/drawing/2014/main" id="{D5EDD84B-8BA3-7D09-1152-BBF9D08544D7}"/>
              </a:ext>
            </a:extLst>
          </p:cNvPr>
          <p:cNvCxnSpPr>
            <a:cxnSpLocks/>
          </p:cNvCxnSpPr>
          <p:nvPr/>
        </p:nvCxnSpPr>
        <p:spPr>
          <a:xfrm>
            <a:off x="3089498" y="5222723"/>
            <a:ext cx="351461"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56CEBE0D-6528-206C-150D-B60134DC877B}"/>
              </a:ext>
            </a:extLst>
          </p:cNvPr>
          <p:cNvCxnSpPr>
            <a:cxnSpLocks/>
          </p:cNvCxnSpPr>
          <p:nvPr/>
        </p:nvCxnSpPr>
        <p:spPr>
          <a:xfrm>
            <a:off x="3089499" y="3176217"/>
            <a:ext cx="35146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1ECEE68-877B-38A6-D84E-6F507D19715D}"/>
              </a:ext>
            </a:extLst>
          </p:cNvPr>
          <p:cNvCxnSpPr>
            <a:cxnSpLocks/>
          </p:cNvCxnSpPr>
          <p:nvPr/>
        </p:nvCxnSpPr>
        <p:spPr>
          <a:xfrm>
            <a:off x="3089499" y="1359569"/>
            <a:ext cx="351461"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BB3ACC26-664F-A031-7B09-6CCE30B768A5}"/>
              </a:ext>
            </a:extLst>
          </p:cNvPr>
          <p:cNvSpPr txBox="1"/>
          <p:nvPr/>
        </p:nvSpPr>
        <p:spPr>
          <a:xfrm>
            <a:off x="38679" y="3054698"/>
            <a:ext cx="3151279" cy="1754326"/>
          </a:xfrm>
          <a:prstGeom prst="rect">
            <a:avLst/>
          </a:prstGeom>
          <a:noFill/>
        </p:spPr>
        <p:txBody>
          <a:bodyPr wrap="square" rtlCol="0">
            <a:spAutoFit/>
          </a:bodyPr>
          <a:lstStyle/>
          <a:p>
            <a:pPr defTabSz="914377"/>
            <a:r>
              <a:rPr lang="en-US" b="1" dirty="0">
                <a:solidFill>
                  <a:prstClr val="black"/>
                </a:solidFill>
                <a:latin typeface="Arial" panose="020B0604020202020204"/>
              </a:rPr>
              <a:t>Actual complement-</a:t>
            </a:r>
          </a:p>
          <a:p>
            <a:pPr marL="742932" lvl="1" indent="-285744" defTabSz="914377">
              <a:buFont typeface="Arial" panose="020B0604020202020204" pitchFamily="34" charset="0"/>
              <a:buChar char="•"/>
            </a:pPr>
            <a:r>
              <a:rPr lang="en-US" dirty="0">
                <a:solidFill>
                  <a:prstClr val="black"/>
                </a:solidFill>
                <a:latin typeface="Arial" panose="020B0604020202020204"/>
              </a:rPr>
              <a:t>Employees on rolls from webCOINS</a:t>
            </a:r>
          </a:p>
          <a:p>
            <a:pPr marL="742932" lvl="1" indent="-285744" defTabSz="914377">
              <a:buFont typeface="Arial" panose="020B0604020202020204" pitchFamily="34" charset="0"/>
              <a:buChar char="•"/>
            </a:pPr>
            <a:r>
              <a:rPr lang="en-US" dirty="0">
                <a:solidFill>
                  <a:prstClr val="black"/>
                </a:solidFill>
                <a:latin typeface="Arial" panose="020B0604020202020204"/>
              </a:rPr>
              <a:t>Actual average daily hours and FTES used by LDC</a:t>
            </a:r>
          </a:p>
        </p:txBody>
      </p:sp>
      <p:sp>
        <p:nvSpPr>
          <p:cNvPr id="43" name="TextBox 42">
            <a:extLst>
              <a:ext uri="{FF2B5EF4-FFF2-40B4-BE49-F238E27FC236}">
                <a16:creationId xmlns:a16="http://schemas.microsoft.com/office/drawing/2014/main" id="{243E997A-1137-AA9F-8997-6879AF9655B9}"/>
              </a:ext>
            </a:extLst>
          </p:cNvPr>
          <p:cNvSpPr txBox="1"/>
          <p:nvPr/>
        </p:nvSpPr>
        <p:spPr>
          <a:xfrm>
            <a:off x="33223" y="5024754"/>
            <a:ext cx="2459004" cy="369332"/>
          </a:xfrm>
          <a:prstGeom prst="rect">
            <a:avLst/>
          </a:prstGeom>
          <a:noFill/>
        </p:spPr>
        <p:txBody>
          <a:bodyPr wrap="square" rtlCol="0">
            <a:spAutoFit/>
          </a:bodyPr>
          <a:lstStyle/>
          <a:p>
            <a:pPr defTabSz="914377"/>
            <a:r>
              <a:rPr lang="en-US" b="1" dirty="0">
                <a:solidFill>
                  <a:prstClr val="black"/>
                </a:solidFill>
                <a:latin typeface="Arial" panose="020B0604020202020204"/>
              </a:rPr>
              <a:t>Summary Section</a:t>
            </a:r>
          </a:p>
        </p:txBody>
      </p:sp>
      <p:cxnSp>
        <p:nvCxnSpPr>
          <p:cNvPr id="14" name="Straight Arrow Connector 13">
            <a:extLst>
              <a:ext uri="{FF2B5EF4-FFF2-40B4-BE49-F238E27FC236}">
                <a16:creationId xmlns:a16="http://schemas.microsoft.com/office/drawing/2014/main" id="{DE067C13-7028-624B-60D6-0DC684D168E3}"/>
              </a:ext>
            </a:extLst>
          </p:cNvPr>
          <p:cNvCxnSpPr>
            <a:cxnSpLocks/>
          </p:cNvCxnSpPr>
          <p:nvPr/>
        </p:nvCxnSpPr>
        <p:spPr>
          <a:xfrm flipH="1">
            <a:off x="8741615" y="3845975"/>
            <a:ext cx="395096"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578FEF5-B6DD-CB55-15C8-1CD9EB9690EF}"/>
              </a:ext>
            </a:extLst>
          </p:cNvPr>
          <p:cNvSpPr txBox="1"/>
          <p:nvPr/>
        </p:nvSpPr>
        <p:spPr>
          <a:xfrm>
            <a:off x="8876543" y="1720840"/>
            <a:ext cx="3313871" cy="3416320"/>
          </a:xfrm>
          <a:prstGeom prst="rect">
            <a:avLst/>
          </a:prstGeom>
          <a:noFill/>
        </p:spPr>
        <p:txBody>
          <a:bodyPr wrap="square" rtlCol="0">
            <a:spAutoFit/>
          </a:bodyPr>
          <a:lstStyle/>
          <a:p>
            <a:pPr defTabSz="914377"/>
            <a:r>
              <a:rPr lang="en-US" b="1" dirty="0">
                <a:solidFill>
                  <a:prstClr val="black"/>
                </a:solidFill>
                <a:latin typeface="Arial" panose="020B0604020202020204"/>
              </a:rPr>
              <a:t>Proposed complement-</a:t>
            </a:r>
            <a:endParaRPr lang="en-US" dirty="0">
              <a:solidFill>
                <a:prstClr val="black"/>
              </a:solidFill>
              <a:latin typeface="Arial" panose="020B0604020202020204"/>
            </a:endParaRPr>
          </a:p>
          <a:p>
            <a:pPr marL="742932" lvl="1" indent="-285744" defTabSz="914377">
              <a:buFont typeface="Arial" panose="020B0604020202020204" pitchFamily="34" charset="0"/>
              <a:buChar char="•"/>
            </a:pPr>
            <a:r>
              <a:rPr lang="en-US" dirty="0">
                <a:solidFill>
                  <a:prstClr val="black"/>
                </a:solidFill>
                <a:latin typeface="Arial" panose="020B0604020202020204"/>
              </a:rPr>
              <a:t>Provides proposed earned FTES using earned hours for the previous 301 days</a:t>
            </a:r>
          </a:p>
          <a:p>
            <a:pPr marL="742932" lvl="1" indent="-285744" defTabSz="914377">
              <a:buFont typeface="Arial" panose="020B0604020202020204" pitchFamily="34" charset="0"/>
              <a:buChar char="•"/>
            </a:pPr>
            <a:r>
              <a:rPr lang="en-US" dirty="0">
                <a:solidFill>
                  <a:prstClr val="black"/>
                </a:solidFill>
                <a:latin typeface="Arial" panose="020B0604020202020204"/>
              </a:rPr>
              <a:t>Average daily earned hours and FTES by LDC</a:t>
            </a:r>
          </a:p>
          <a:p>
            <a:pPr marL="742932" lvl="1" indent="-285744" defTabSz="914377">
              <a:buFont typeface="Arial" panose="020B0604020202020204" pitchFamily="34" charset="0"/>
              <a:buChar char="•"/>
            </a:pPr>
            <a:r>
              <a:rPr lang="en-US" dirty="0">
                <a:solidFill>
                  <a:prstClr val="black"/>
                </a:solidFill>
                <a:latin typeface="Arial" panose="020B0604020202020204"/>
              </a:rPr>
              <a:t>Calculates annual earned hours based on daily average times 301 days</a:t>
            </a:r>
          </a:p>
        </p:txBody>
      </p:sp>
      <p:sp>
        <p:nvSpPr>
          <p:cNvPr id="18" name="TextBox 17">
            <a:extLst>
              <a:ext uri="{FF2B5EF4-FFF2-40B4-BE49-F238E27FC236}">
                <a16:creationId xmlns:a16="http://schemas.microsoft.com/office/drawing/2014/main" id="{1C954620-91AC-77AF-1391-0D2DB2BD6E52}"/>
              </a:ext>
            </a:extLst>
          </p:cNvPr>
          <p:cNvSpPr txBox="1"/>
          <p:nvPr/>
        </p:nvSpPr>
        <p:spPr>
          <a:xfrm>
            <a:off x="35722" y="618474"/>
            <a:ext cx="3279737" cy="369332"/>
          </a:xfrm>
          <a:prstGeom prst="rect">
            <a:avLst/>
          </a:prstGeom>
          <a:noFill/>
        </p:spPr>
        <p:txBody>
          <a:bodyPr wrap="square" rtlCol="0">
            <a:spAutoFit/>
          </a:bodyPr>
          <a:lstStyle/>
          <a:p>
            <a:pPr defTabSz="914377"/>
            <a:r>
              <a:rPr lang="en-US" b="1" dirty="0">
                <a:solidFill>
                  <a:prstClr val="black"/>
                </a:solidFill>
                <a:latin typeface="Arial" panose="020B0604020202020204"/>
              </a:rPr>
              <a:t>Based on 301 Delivery days</a:t>
            </a:r>
          </a:p>
        </p:txBody>
      </p:sp>
      <p:cxnSp>
        <p:nvCxnSpPr>
          <p:cNvPr id="19" name="Straight Arrow Connector 18">
            <a:extLst>
              <a:ext uri="{FF2B5EF4-FFF2-40B4-BE49-F238E27FC236}">
                <a16:creationId xmlns:a16="http://schemas.microsoft.com/office/drawing/2014/main" id="{0C3B21F2-E2A8-9BD7-97E7-5134A080E56E}"/>
              </a:ext>
            </a:extLst>
          </p:cNvPr>
          <p:cNvCxnSpPr>
            <a:cxnSpLocks/>
          </p:cNvCxnSpPr>
          <p:nvPr/>
        </p:nvCxnSpPr>
        <p:spPr>
          <a:xfrm>
            <a:off x="3139729" y="805905"/>
            <a:ext cx="301231"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30E71259-B4C8-58A0-7317-ADCF7DD99F44}"/>
                  </a:ext>
                </a:extLst>
              </p14:cNvPr>
              <p14:cNvContentPartPr/>
              <p14:nvPr/>
            </p14:nvContentPartPr>
            <p14:xfrm>
              <a:off x="8406548" y="4288602"/>
              <a:ext cx="427680" cy="21960"/>
            </p14:xfrm>
          </p:contentPart>
        </mc:Choice>
        <mc:Fallback xmlns="">
          <p:pic>
            <p:nvPicPr>
              <p:cNvPr id="4" name="Ink 3">
                <a:extLst>
                  <a:ext uri="{FF2B5EF4-FFF2-40B4-BE49-F238E27FC236}">
                    <a16:creationId xmlns:a16="http://schemas.microsoft.com/office/drawing/2014/main" id="{30E71259-B4C8-58A0-7317-ADCF7DD99F44}"/>
                  </a:ext>
                </a:extLst>
              </p:cNvPr>
              <p:cNvPicPr/>
              <p:nvPr/>
            </p:nvPicPr>
            <p:blipFill>
              <a:blip r:embed="rId4"/>
              <a:stretch>
                <a:fillRect/>
              </a:stretch>
            </p:blipFill>
            <p:spPr>
              <a:xfrm>
                <a:off x="8370548" y="4216962"/>
                <a:ext cx="499320" cy="1656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5" name="Ink 4">
                <a:extLst>
                  <a:ext uri="{FF2B5EF4-FFF2-40B4-BE49-F238E27FC236}">
                    <a16:creationId xmlns:a16="http://schemas.microsoft.com/office/drawing/2014/main" id="{82D40C6B-32B6-3BA7-D328-169F9E021351}"/>
                  </a:ext>
                </a:extLst>
              </p14:cNvPr>
              <p14:cNvContentPartPr/>
              <p14:nvPr/>
            </p14:nvContentPartPr>
            <p14:xfrm>
              <a:off x="4993028" y="4261242"/>
              <a:ext cx="1073160" cy="19080"/>
            </p14:xfrm>
          </p:contentPart>
        </mc:Choice>
        <mc:Fallback xmlns="">
          <p:pic>
            <p:nvPicPr>
              <p:cNvPr id="5" name="Ink 4">
                <a:extLst>
                  <a:ext uri="{FF2B5EF4-FFF2-40B4-BE49-F238E27FC236}">
                    <a16:creationId xmlns:a16="http://schemas.microsoft.com/office/drawing/2014/main" id="{82D40C6B-32B6-3BA7-D328-169F9E021351}"/>
                  </a:ext>
                </a:extLst>
              </p:cNvPr>
              <p:cNvPicPr/>
              <p:nvPr/>
            </p:nvPicPr>
            <p:blipFill>
              <a:blip r:embed="rId6"/>
              <a:stretch>
                <a:fillRect/>
              </a:stretch>
            </p:blipFill>
            <p:spPr>
              <a:xfrm>
                <a:off x="4957388" y="4189602"/>
                <a:ext cx="1144800" cy="1627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7" name="Ink 6">
                <a:extLst>
                  <a:ext uri="{FF2B5EF4-FFF2-40B4-BE49-F238E27FC236}">
                    <a16:creationId xmlns:a16="http://schemas.microsoft.com/office/drawing/2014/main" id="{C8D67AE4-6A36-FCE8-5051-1CA19058E25D}"/>
                  </a:ext>
                </a:extLst>
              </p14:cNvPr>
              <p14:cNvContentPartPr/>
              <p14:nvPr/>
            </p14:nvContentPartPr>
            <p14:xfrm>
              <a:off x="7792028" y="4285362"/>
              <a:ext cx="832680" cy="24480"/>
            </p14:xfrm>
          </p:contentPart>
        </mc:Choice>
        <mc:Fallback xmlns="">
          <p:pic>
            <p:nvPicPr>
              <p:cNvPr id="7" name="Ink 6">
                <a:extLst>
                  <a:ext uri="{FF2B5EF4-FFF2-40B4-BE49-F238E27FC236}">
                    <a16:creationId xmlns:a16="http://schemas.microsoft.com/office/drawing/2014/main" id="{C8D67AE4-6A36-FCE8-5051-1CA19058E25D}"/>
                  </a:ext>
                </a:extLst>
              </p:cNvPr>
              <p:cNvPicPr/>
              <p:nvPr/>
            </p:nvPicPr>
            <p:blipFill>
              <a:blip r:embed="rId8"/>
              <a:stretch>
                <a:fillRect/>
              </a:stretch>
            </p:blipFill>
            <p:spPr>
              <a:xfrm>
                <a:off x="7756388" y="4213722"/>
                <a:ext cx="904320" cy="16812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8" name="Ink 7">
                <a:extLst>
                  <a:ext uri="{FF2B5EF4-FFF2-40B4-BE49-F238E27FC236}">
                    <a16:creationId xmlns:a16="http://schemas.microsoft.com/office/drawing/2014/main" id="{1F89563B-1639-419F-7A9D-0146D2CA8211}"/>
                  </a:ext>
                </a:extLst>
              </p14:cNvPr>
              <p14:cNvContentPartPr/>
              <p14:nvPr/>
            </p14:nvContentPartPr>
            <p14:xfrm>
              <a:off x="6502148" y="3299322"/>
              <a:ext cx="725760" cy="295200"/>
            </p14:xfrm>
          </p:contentPart>
        </mc:Choice>
        <mc:Fallback xmlns="">
          <p:pic>
            <p:nvPicPr>
              <p:cNvPr id="8" name="Ink 7">
                <a:extLst>
                  <a:ext uri="{FF2B5EF4-FFF2-40B4-BE49-F238E27FC236}">
                    <a16:creationId xmlns:a16="http://schemas.microsoft.com/office/drawing/2014/main" id="{1F89563B-1639-419F-7A9D-0146D2CA8211}"/>
                  </a:ext>
                </a:extLst>
              </p:cNvPr>
              <p:cNvPicPr/>
              <p:nvPr/>
            </p:nvPicPr>
            <p:blipFill>
              <a:blip r:embed="rId10"/>
              <a:stretch>
                <a:fillRect/>
              </a:stretch>
            </p:blipFill>
            <p:spPr>
              <a:xfrm>
                <a:off x="6496028" y="3293202"/>
                <a:ext cx="738000" cy="3074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9" name="Ink 8">
                <a:extLst>
                  <a:ext uri="{FF2B5EF4-FFF2-40B4-BE49-F238E27FC236}">
                    <a16:creationId xmlns:a16="http://schemas.microsoft.com/office/drawing/2014/main" id="{8BED47A9-0B75-B5BB-03FA-BB0609C49B62}"/>
                  </a:ext>
                </a:extLst>
              </p14:cNvPr>
              <p14:cNvContentPartPr/>
              <p14:nvPr/>
            </p14:nvContentPartPr>
            <p14:xfrm>
              <a:off x="3886748" y="3290322"/>
              <a:ext cx="744840" cy="360360"/>
            </p14:xfrm>
          </p:contentPart>
        </mc:Choice>
        <mc:Fallback xmlns="">
          <p:pic>
            <p:nvPicPr>
              <p:cNvPr id="9" name="Ink 8">
                <a:extLst>
                  <a:ext uri="{FF2B5EF4-FFF2-40B4-BE49-F238E27FC236}">
                    <a16:creationId xmlns:a16="http://schemas.microsoft.com/office/drawing/2014/main" id="{8BED47A9-0B75-B5BB-03FA-BB0609C49B62}"/>
                  </a:ext>
                </a:extLst>
              </p:cNvPr>
              <p:cNvPicPr/>
              <p:nvPr/>
            </p:nvPicPr>
            <p:blipFill>
              <a:blip r:embed="rId12"/>
              <a:stretch>
                <a:fillRect/>
              </a:stretch>
            </p:blipFill>
            <p:spPr>
              <a:xfrm>
                <a:off x="3880628" y="3284202"/>
                <a:ext cx="757080" cy="3726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0" name="Ink 9">
                <a:extLst>
                  <a:ext uri="{FF2B5EF4-FFF2-40B4-BE49-F238E27FC236}">
                    <a16:creationId xmlns:a16="http://schemas.microsoft.com/office/drawing/2014/main" id="{95BFC28C-F86F-9903-B2E0-7A36BE72CD15}"/>
                  </a:ext>
                </a:extLst>
              </p14:cNvPr>
              <p14:cNvContentPartPr/>
              <p14:nvPr/>
            </p14:nvContentPartPr>
            <p14:xfrm>
              <a:off x="6321068" y="2154522"/>
              <a:ext cx="360" cy="360"/>
            </p14:xfrm>
          </p:contentPart>
        </mc:Choice>
        <mc:Fallback xmlns="">
          <p:pic>
            <p:nvPicPr>
              <p:cNvPr id="10" name="Ink 9">
                <a:extLst>
                  <a:ext uri="{FF2B5EF4-FFF2-40B4-BE49-F238E27FC236}">
                    <a16:creationId xmlns:a16="http://schemas.microsoft.com/office/drawing/2014/main" id="{95BFC28C-F86F-9903-B2E0-7A36BE72CD15}"/>
                  </a:ext>
                </a:extLst>
              </p:cNvPr>
              <p:cNvPicPr/>
              <p:nvPr/>
            </p:nvPicPr>
            <p:blipFill>
              <a:blip r:embed="rId14"/>
              <a:stretch>
                <a:fillRect/>
              </a:stretch>
            </p:blipFill>
            <p:spPr>
              <a:xfrm>
                <a:off x="6314948" y="2148402"/>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1" name="Ink 10">
                <a:extLst>
                  <a:ext uri="{FF2B5EF4-FFF2-40B4-BE49-F238E27FC236}">
                    <a16:creationId xmlns:a16="http://schemas.microsoft.com/office/drawing/2014/main" id="{DADA0CFA-C713-2ED3-E7F2-01AD179C5559}"/>
                  </a:ext>
                </a:extLst>
              </p14:cNvPr>
              <p14:cNvContentPartPr/>
              <p14:nvPr/>
            </p14:nvContentPartPr>
            <p14:xfrm>
              <a:off x="4299308" y="1740162"/>
              <a:ext cx="983520" cy="319680"/>
            </p14:xfrm>
          </p:contentPart>
        </mc:Choice>
        <mc:Fallback xmlns="">
          <p:pic>
            <p:nvPicPr>
              <p:cNvPr id="11" name="Ink 10">
                <a:extLst>
                  <a:ext uri="{FF2B5EF4-FFF2-40B4-BE49-F238E27FC236}">
                    <a16:creationId xmlns:a16="http://schemas.microsoft.com/office/drawing/2014/main" id="{DADA0CFA-C713-2ED3-E7F2-01AD179C5559}"/>
                  </a:ext>
                </a:extLst>
              </p:cNvPr>
              <p:cNvPicPr/>
              <p:nvPr/>
            </p:nvPicPr>
            <p:blipFill>
              <a:blip r:embed="rId16"/>
              <a:stretch>
                <a:fillRect/>
              </a:stretch>
            </p:blipFill>
            <p:spPr>
              <a:xfrm>
                <a:off x="4293188" y="1734042"/>
                <a:ext cx="995760" cy="33192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2" name="Ink 11">
                <a:extLst>
                  <a:ext uri="{FF2B5EF4-FFF2-40B4-BE49-F238E27FC236}">
                    <a16:creationId xmlns:a16="http://schemas.microsoft.com/office/drawing/2014/main" id="{704E6F26-3094-9C3B-503E-E52CEA9CB728}"/>
                  </a:ext>
                </a:extLst>
              </p14:cNvPr>
              <p14:cNvContentPartPr/>
              <p14:nvPr/>
            </p14:nvContentPartPr>
            <p14:xfrm>
              <a:off x="5707268" y="1858602"/>
              <a:ext cx="749880" cy="670320"/>
            </p14:xfrm>
          </p:contentPart>
        </mc:Choice>
        <mc:Fallback xmlns="">
          <p:pic>
            <p:nvPicPr>
              <p:cNvPr id="12" name="Ink 11">
                <a:extLst>
                  <a:ext uri="{FF2B5EF4-FFF2-40B4-BE49-F238E27FC236}">
                    <a16:creationId xmlns:a16="http://schemas.microsoft.com/office/drawing/2014/main" id="{704E6F26-3094-9C3B-503E-E52CEA9CB728}"/>
                  </a:ext>
                </a:extLst>
              </p:cNvPr>
              <p:cNvPicPr/>
              <p:nvPr/>
            </p:nvPicPr>
            <p:blipFill>
              <a:blip r:embed="rId18"/>
              <a:stretch>
                <a:fillRect/>
              </a:stretch>
            </p:blipFill>
            <p:spPr>
              <a:xfrm>
                <a:off x="5701148" y="1852482"/>
                <a:ext cx="762120" cy="6825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3" name="Ink 12">
                <a:extLst>
                  <a:ext uri="{FF2B5EF4-FFF2-40B4-BE49-F238E27FC236}">
                    <a16:creationId xmlns:a16="http://schemas.microsoft.com/office/drawing/2014/main" id="{BA690DC9-B598-10E2-EEAA-BFBDA42441B4}"/>
                  </a:ext>
                </a:extLst>
              </p14:cNvPr>
              <p14:cNvContentPartPr/>
              <p14:nvPr/>
            </p14:nvContentPartPr>
            <p14:xfrm>
              <a:off x="5696828" y="5136402"/>
              <a:ext cx="450360" cy="558000"/>
            </p14:xfrm>
          </p:contentPart>
        </mc:Choice>
        <mc:Fallback xmlns="">
          <p:pic>
            <p:nvPicPr>
              <p:cNvPr id="13" name="Ink 12">
                <a:extLst>
                  <a:ext uri="{FF2B5EF4-FFF2-40B4-BE49-F238E27FC236}">
                    <a16:creationId xmlns:a16="http://schemas.microsoft.com/office/drawing/2014/main" id="{BA690DC9-B598-10E2-EEAA-BFBDA42441B4}"/>
                  </a:ext>
                </a:extLst>
              </p:cNvPr>
              <p:cNvPicPr/>
              <p:nvPr/>
            </p:nvPicPr>
            <p:blipFill>
              <a:blip r:embed="rId20"/>
              <a:stretch>
                <a:fillRect/>
              </a:stretch>
            </p:blipFill>
            <p:spPr>
              <a:xfrm>
                <a:off x="5690708" y="5130282"/>
                <a:ext cx="462600" cy="57024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6" name="Ink 15">
                <a:extLst>
                  <a:ext uri="{FF2B5EF4-FFF2-40B4-BE49-F238E27FC236}">
                    <a16:creationId xmlns:a16="http://schemas.microsoft.com/office/drawing/2014/main" id="{A3E7BB3A-6613-B3D2-D9C3-08BAC89E6E0E}"/>
                  </a:ext>
                </a:extLst>
              </p14:cNvPr>
              <p14:cNvContentPartPr/>
              <p14:nvPr/>
            </p14:nvContentPartPr>
            <p14:xfrm>
              <a:off x="3466628" y="5597202"/>
              <a:ext cx="2694960" cy="24480"/>
            </p14:xfrm>
          </p:contentPart>
        </mc:Choice>
        <mc:Fallback xmlns="">
          <p:pic>
            <p:nvPicPr>
              <p:cNvPr id="16" name="Ink 15">
                <a:extLst>
                  <a:ext uri="{FF2B5EF4-FFF2-40B4-BE49-F238E27FC236}">
                    <a16:creationId xmlns:a16="http://schemas.microsoft.com/office/drawing/2014/main" id="{A3E7BB3A-6613-B3D2-D9C3-08BAC89E6E0E}"/>
                  </a:ext>
                </a:extLst>
              </p:cNvPr>
              <p:cNvPicPr/>
              <p:nvPr/>
            </p:nvPicPr>
            <p:blipFill>
              <a:blip r:embed="rId22"/>
              <a:stretch>
                <a:fillRect/>
              </a:stretch>
            </p:blipFill>
            <p:spPr>
              <a:xfrm>
                <a:off x="3430628" y="5525202"/>
                <a:ext cx="2766600" cy="16812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7" name="Ink 16">
                <a:extLst>
                  <a:ext uri="{FF2B5EF4-FFF2-40B4-BE49-F238E27FC236}">
                    <a16:creationId xmlns:a16="http://schemas.microsoft.com/office/drawing/2014/main" id="{A3281304-3067-77BF-3CB0-94A84185015A}"/>
                  </a:ext>
                </a:extLst>
              </p14:cNvPr>
              <p14:cNvContentPartPr/>
              <p14:nvPr/>
            </p14:nvContentPartPr>
            <p14:xfrm>
              <a:off x="4412708" y="1905042"/>
              <a:ext cx="712440" cy="11520"/>
            </p14:xfrm>
          </p:contentPart>
        </mc:Choice>
        <mc:Fallback xmlns="">
          <p:pic>
            <p:nvPicPr>
              <p:cNvPr id="17" name="Ink 16">
                <a:extLst>
                  <a:ext uri="{FF2B5EF4-FFF2-40B4-BE49-F238E27FC236}">
                    <a16:creationId xmlns:a16="http://schemas.microsoft.com/office/drawing/2014/main" id="{A3281304-3067-77BF-3CB0-94A84185015A}"/>
                  </a:ext>
                </a:extLst>
              </p:cNvPr>
              <p:cNvPicPr/>
              <p:nvPr/>
            </p:nvPicPr>
            <p:blipFill>
              <a:blip r:embed="rId24"/>
              <a:stretch>
                <a:fillRect/>
              </a:stretch>
            </p:blipFill>
            <p:spPr>
              <a:xfrm>
                <a:off x="4377068" y="1833042"/>
                <a:ext cx="784080" cy="1551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0" name="Ink 19">
                <a:extLst>
                  <a:ext uri="{FF2B5EF4-FFF2-40B4-BE49-F238E27FC236}">
                    <a16:creationId xmlns:a16="http://schemas.microsoft.com/office/drawing/2014/main" id="{4B3AA1F5-3291-0A93-1187-D03F73ADAB23}"/>
                  </a:ext>
                </a:extLst>
              </p14:cNvPr>
              <p14:cNvContentPartPr/>
              <p14:nvPr/>
            </p14:nvContentPartPr>
            <p14:xfrm>
              <a:off x="5907788" y="2043282"/>
              <a:ext cx="207000" cy="360"/>
            </p14:xfrm>
          </p:contentPart>
        </mc:Choice>
        <mc:Fallback xmlns="">
          <p:pic>
            <p:nvPicPr>
              <p:cNvPr id="20" name="Ink 19">
                <a:extLst>
                  <a:ext uri="{FF2B5EF4-FFF2-40B4-BE49-F238E27FC236}">
                    <a16:creationId xmlns:a16="http://schemas.microsoft.com/office/drawing/2014/main" id="{4B3AA1F5-3291-0A93-1187-D03F73ADAB23}"/>
                  </a:ext>
                </a:extLst>
              </p:cNvPr>
              <p:cNvPicPr/>
              <p:nvPr/>
            </p:nvPicPr>
            <p:blipFill>
              <a:blip r:embed="rId26"/>
              <a:stretch>
                <a:fillRect/>
              </a:stretch>
            </p:blipFill>
            <p:spPr>
              <a:xfrm>
                <a:off x="5871788" y="1971642"/>
                <a:ext cx="278640" cy="14400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1" name="Ink 20">
                <a:extLst>
                  <a:ext uri="{FF2B5EF4-FFF2-40B4-BE49-F238E27FC236}">
                    <a16:creationId xmlns:a16="http://schemas.microsoft.com/office/drawing/2014/main" id="{EAF817C3-45FB-AD78-0535-BF463BC875D6}"/>
                  </a:ext>
                </a:extLst>
              </p14:cNvPr>
              <p14:cNvContentPartPr/>
              <p14:nvPr/>
            </p14:nvContentPartPr>
            <p14:xfrm>
              <a:off x="5891588" y="2384922"/>
              <a:ext cx="226440" cy="8280"/>
            </p14:xfrm>
          </p:contentPart>
        </mc:Choice>
        <mc:Fallback xmlns="">
          <p:pic>
            <p:nvPicPr>
              <p:cNvPr id="21" name="Ink 20">
                <a:extLst>
                  <a:ext uri="{FF2B5EF4-FFF2-40B4-BE49-F238E27FC236}">
                    <a16:creationId xmlns:a16="http://schemas.microsoft.com/office/drawing/2014/main" id="{EAF817C3-45FB-AD78-0535-BF463BC875D6}"/>
                  </a:ext>
                </a:extLst>
              </p:cNvPr>
              <p:cNvPicPr/>
              <p:nvPr/>
            </p:nvPicPr>
            <p:blipFill>
              <a:blip r:embed="rId28"/>
              <a:stretch>
                <a:fillRect/>
              </a:stretch>
            </p:blipFill>
            <p:spPr>
              <a:xfrm>
                <a:off x="5855948" y="2313282"/>
                <a:ext cx="298080" cy="151920"/>
              </a:xfrm>
              <a:prstGeom prst="rect">
                <a:avLst/>
              </a:prstGeom>
            </p:spPr>
          </p:pic>
        </mc:Fallback>
      </mc:AlternateContent>
    </p:spTree>
    <p:extLst>
      <p:ext uri="{BB962C8B-B14F-4D97-AF65-F5344CB8AC3E}">
        <p14:creationId xmlns:p14="http://schemas.microsoft.com/office/powerpoint/2010/main" val="21940276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EC81D8-26EF-8FD3-7954-790F4E939EA9}"/>
              </a:ext>
            </a:extLst>
          </p:cNvPr>
          <p:cNvSpPr>
            <a:spLocks noGrp="1"/>
          </p:cNvSpPr>
          <p:nvPr>
            <p:ph type="title"/>
          </p:nvPr>
        </p:nvSpPr>
        <p:spPr>
          <a:xfrm>
            <a:off x="372966" y="3"/>
            <a:ext cx="10512863" cy="536547"/>
          </a:xfrm>
        </p:spPr>
        <p:txBody>
          <a:bodyPr>
            <a:normAutofit/>
          </a:bodyPr>
          <a:lstStyle/>
          <a:p>
            <a:r>
              <a:rPr lang="en-US" sz="2800" dirty="0"/>
              <a:t>CSV Menu – LDC 42</a:t>
            </a:r>
          </a:p>
        </p:txBody>
      </p:sp>
      <p:sp>
        <p:nvSpPr>
          <p:cNvPr id="5" name="Date Placeholder 4">
            <a:extLst>
              <a:ext uri="{FF2B5EF4-FFF2-40B4-BE49-F238E27FC236}">
                <a16:creationId xmlns:a16="http://schemas.microsoft.com/office/drawing/2014/main" id="{A6226B6F-ABA2-DD9E-530A-0117A6ADC9D7}"/>
              </a:ext>
            </a:extLst>
          </p:cNvPr>
          <p:cNvSpPr>
            <a:spLocks noGrp="1"/>
          </p:cNvSpPr>
          <p:nvPr>
            <p:ph type="dt" sz="half" idx="10"/>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7" name="Picture 6">
            <a:extLst>
              <a:ext uri="{FF2B5EF4-FFF2-40B4-BE49-F238E27FC236}">
                <a16:creationId xmlns:a16="http://schemas.microsoft.com/office/drawing/2014/main" id="{BC531DD9-F9F8-167A-6D9C-E0557472FD64}"/>
              </a:ext>
            </a:extLst>
          </p:cNvPr>
          <p:cNvPicPr>
            <a:picLocks noChangeAspect="1"/>
          </p:cNvPicPr>
          <p:nvPr/>
        </p:nvPicPr>
        <p:blipFill>
          <a:blip r:embed="rId2"/>
          <a:stretch>
            <a:fillRect/>
          </a:stretch>
        </p:blipFill>
        <p:spPr>
          <a:xfrm>
            <a:off x="2619643" y="825617"/>
            <a:ext cx="7183171" cy="5033263"/>
          </a:xfrm>
          <a:prstGeom prst="rect">
            <a:avLst/>
          </a:prstGeom>
        </p:spPr>
      </p:pic>
      <p:sp>
        <p:nvSpPr>
          <p:cNvPr id="9" name="TextBox 8">
            <a:extLst>
              <a:ext uri="{FF2B5EF4-FFF2-40B4-BE49-F238E27FC236}">
                <a16:creationId xmlns:a16="http://schemas.microsoft.com/office/drawing/2014/main" id="{60625100-3A06-7627-9C88-1F7B2D2BE622}"/>
              </a:ext>
            </a:extLst>
          </p:cNvPr>
          <p:cNvSpPr txBox="1"/>
          <p:nvPr/>
        </p:nvSpPr>
        <p:spPr>
          <a:xfrm>
            <a:off x="220870" y="2061091"/>
            <a:ext cx="2398775" cy="1477328"/>
          </a:xfrm>
          <a:prstGeom prst="rect">
            <a:avLst/>
          </a:prstGeom>
          <a:noFill/>
        </p:spPr>
        <p:txBody>
          <a:bodyPr wrap="square" rtlCol="0">
            <a:spAutoFit/>
          </a:bodyPr>
          <a:lstStyle/>
          <a:p>
            <a:pPr defTabSz="914377"/>
            <a:r>
              <a:rPr lang="en-US" dirty="0">
                <a:solidFill>
                  <a:prstClr val="black"/>
                </a:solidFill>
                <a:latin typeface="Arial" panose="020B0604020202020204"/>
              </a:rPr>
              <a:t>Provides a summary of the calculations for the report period for Business Return Services.</a:t>
            </a:r>
          </a:p>
        </p:txBody>
      </p:sp>
      <p:sp>
        <p:nvSpPr>
          <p:cNvPr id="8" name="TextBox 7">
            <a:extLst>
              <a:ext uri="{FF2B5EF4-FFF2-40B4-BE49-F238E27FC236}">
                <a16:creationId xmlns:a16="http://schemas.microsoft.com/office/drawing/2014/main" id="{EB006D5A-65AB-EFC3-D20A-53FE06E1A2BB}"/>
              </a:ext>
            </a:extLst>
          </p:cNvPr>
          <p:cNvSpPr txBox="1"/>
          <p:nvPr/>
        </p:nvSpPr>
        <p:spPr>
          <a:xfrm>
            <a:off x="10142636" y="1894182"/>
            <a:ext cx="1937777" cy="646331"/>
          </a:xfrm>
          <a:prstGeom prst="rect">
            <a:avLst/>
          </a:prstGeom>
          <a:noFill/>
          <a:ln>
            <a:solidFill>
              <a:schemeClr val="tx1"/>
            </a:solidFill>
          </a:ln>
        </p:spPr>
        <p:txBody>
          <a:bodyPr wrap="square" rtlCol="0">
            <a:spAutoFit/>
          </a:bodyPr>
          <a:lstStyle/>
          <a:p>
            <a:pPr defTabSz="914377"/>
            <a:r>
              <a:rPr lang="en-US" b="1" dirty="0">
                <a:solidFill>
                  <a:prstClr val="black"/>
                </a:solidFill>
                <a:latin typeface="Arial" panose="020B0604020202020204"/>
              </a:rPr>
              <a:t>Safety Talks &amp; Breaks (STB)</a:t>
            </a:r>
          </a:p>
        </p:txBody>
      </p:sp>
      <p:cxnSp>
        <p:nvCxnSpPr>
          <p:cNvPr id="11" name="Straight Arrow Connector 10">
            <a:extLst>
              <a:ext uri="{FF2B5EF4-FFF2-40B4-BE49-F238E27FC236}">
                <a16:creationId xmlns:a16="http://schemas.microsoft.com/office/drawing/2014/main" id="{A59B1305-6F44-558E-B5B7-739097388273}"/>
              </a:ext>
            </a:extLst>
          </p:cNvPr>
          <p:cNvCxnSpPr>
            <a:cxnSpLocks/>
          </p:cNvCxnSpPr>
          <p:nvPr/>
        </p:nvCxnSpPr>
        <p:spPr>
          <a:xfrm>
            <a:off x="8659814" y="1454179"/>
            <a:ext cx="1482821" cy="53654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06692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7E4ED-0DD1-D744-89D9-22B69773DCC5}"/>
              </a:ext>
            </a:extLst>
          </p:cNvPr>
          <p:cNvSpPr>
            <a:spLocks noGrp="1"/>
          </p:cNvSpPr>
          <p:nvPr>
            <p:ph type="title"/>
          </p:nvPr>
        </p:nvSpPr>
        <p:spPr/>
        <p:txBody>
          <a:bodyPr/>
          <a:lstStyle/>
          <a:p>
            <a:br>
              <a:rPr lang="en-US" sz="1200" b="0" dirty="0">
                <a:solidFill>
                  <a:srgbClr val="000000"/>
                </a:solidFill>
              </a:rPr>
            </a:br>
            <a:r>
              <a:rPr lang="en-US" sz="2400" dirty="0"/>
              <a:t>FY 2023 -LDC 42 Business Services Metrics</a:t>
            </a:r>
            <a:endParaRPr lang="en-US" dirty="0"/>
          </a:p>
        </p:txBody>
      </p:sp>
      <p:pic>
        <p:nvPicPr>
          <p:cNvPr id="6" name="Content Placeholder 5">
            <a:extLst>
              <a:ext uri="{FF2B5EF4-FFF2-40B4-BE49-F238E27FC236}">
                <a16:creationId xmlns:a16="http://schemas.microsoft.com/office/drawing/2014/main" id="{6954DBF6-8B57-57E7-C8AA-80E9D499829C}"/>
              </a:ext>
            </a:extLst>
          </p:cNvPr>
          <p:cNvPicPr>
            <a:picLocks noGrp="1" noChangeAspect="1"/>
          </p:cNvPicPr>
          <p:nvPr>
            <p:ph idx="1"/>
          </p:nvPr>
        </p:nvPicPr>
        <p:blipFill>
          <a:blip r:embed="rId2"/>
          <a:stretch>
            <a:fillRect/>
          </a:stretch>
        </p:blipFill>
        <p:spPr>
          <a:xfrm>
            <a:off x="372965" y="811658"/>
            <a:ext cx="11536371" cy="4674743"/>
          </a:xfrm>
        </p:spPr>
      </p:pic>
      <p:sp>
        <p:nvSpPr>
          <p:cNvPr id="4" name="Date Placeholder 3">
            <a:extLst>
              <a:ext uri="{FF2B5EF4-FFF2-40B4-BE49-F238E27FC236}">
                <a16:creationId xmlns:a16="http://schemas.microsoft.com/office/drawing/2014/main" id="{4AABE0E7-3DBB-59D2-7F5C-14D76008175D}"/>
              </a:ext>
            </a:extLst>
          </p:cNvPr>
          <p:cNvSpPr>
            <a:spLocks noGrp="1"/>
          </p:cNvSpPr>
          <p:nvPr>
            <p:ph type="dt" sz="half" idx="2"/>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3A5ACD0E-5267-713D-A3D5-BB032A184FDD}"/>
                  </a:ext>
                </a:extLst>
              </p14:cNvPr>
              <p14:cNvContentPartPr/>
              <p14:nvPr/>
            </p14:nvContentPartPr>
            <p14:xfrm>
              <a:off x="1230934" y="3059562"/>
              <a:ext cx="892440" cy="2292840"/>
            </p14:xfrm>
          </p:contentPart>
        </mc:Choice>
        <mc:Fallback xmlns="">
          <p:pic>
            <p:nvPicPr>
              <p:cNvPr id="3" name="Ink 2">
                <a:extLst>
                  <a:ext uri="{FF2B5EF4-FFF2-40B4-BE49-F238E27FC236}">
                    <a16:creationId xmlns:a16="http://schemas.microsoft.com/office/drawing/2014/main" id="{3A5ACD0E-5267-713D-A3D5-BB032A184FDD}"/>
                  </a:ext>
                </a:extLst>
              </p:cNvPr>
              <p:cNvPicPr/>
              <p:nvPr/>
            </p:nvPicPr>
            <p:blipFill>
              <a:blip r:embed="rId4"/>
              <a:stretch>
                <a:fillRect/>
              </a:stretch>
            </p:blipFill>
            <p:spPr>
              <a:xfrm>
                <a:off x="1224814" y="3053442"/>
                <a:ext cx="904680" cy="2305080"/>
              </a:xfrm>
              <a:prstGeom prst="rect">
                <a:avLst/>
              </a:prstGeom>
            </p:spPr>
          </p:pic>
        </mc:Fallback>
      </mc:AlternateContent>
    </p:spTree>
    <p:extLst>
      <p:ext uri="{BB962C8B-B14F-4D97-AF65-F5344CB8AC3E}">
        <p14:creationId xmlns:p14="http://schemas.microsoft.com/office/powerpoint/2010/main" val="775445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0B9735-CD06-43DE-358B-E55C4EEC4AE2}"/>
              </a:ext>
            </a:extLst>
          </p:cNvPr>
          <p:cNvSpPr>
            <a:spLocks noGrp="1"/>
          </p:cNvSpPr>
          <p:nvPr>
            <p:ph type="title"/>
          </p:nvPr>
        </p:nvSpPr>
        <p:spPr>
          <a:xfrm>
            <a:off x="372966" y="3"/>
            <a:ext cx="10512863" cy="551661"/>
          </a:xfrm>
        </p:spPr>
        <p:txBody>
          <a:bodyPr>
            <a:normAutofit/>
          </a:bodyPr>
          <a:lstStyle/>
          <a:p>
            <a:r>
              <a:rPr lang="en-US" sz="2800" dirty="0"/>
              <a:t>CSV Menu – LDC 45 Ancillary</a:t>
            </a:r>
          </a:p>
        </p:txBody>
      </p:sp>
      <p:sp>
        <p:nvSpPr>
          <p:cNvPr id="5" name="Date Placeholder 4">
            <a:extLst>
              <a:ext uri="{FF2B5EF4-FFF2-40B4-BE49-F238E27FC236}">
                <a16:creationId xmlns:a16="http://schemas.microsoft.com/office/drawing/2014/main" id="{CB2BD341-6FA5-0363-1343-92D205A23192}"/>
              </a:ext>
            </a:extLst>
          </p:cNvPr>
          <p:cNvSpPr>
            <a:spLocks noGrp="1"/>
          </p:cNvSpPr>
          <p:nvPr>
            <p:ph type="dt" sz="half" idx="10"/>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7" name="Picture 6">
            <a:extLst>
              <a:ext uri="{FF2B5EF4-FFF2-40B4-BE49-F238E27FC236}">
                <a16:creationId xmlns:a16="http://schemas.microsoft.com/office/drawing/2014/main" id="{760E0044-731E-1D9D-2019-306587EFE980}"/>
              </a:ext>
            </a:extLst>
          </p:cNvPr>
          <p:cNvPicPr>
            <a:picLocks noChangeAspect="1"/>
          </p:cNvPicPr>
          <p:nvPr/>
        </p:nvPicPr>
        <p:blipFill rotWithShape="1">
          <a:blip r:embed="rId2"/>
          <a:srcRect r="756"/>
          <a:stretch/>
        </p:blipFill>
        <p:spPr>
          <a:xfrm>
            <a:off x="4973639" y="551663"/>
            <a:ext cx="6619875" cy="5509072"/>
          </a:xfrm>
          <a:prstGeom prst="rect">
            <a:avLst/>
          </a:prstGeom>
          <a:ln>
            <a:solidFill>
              <a:schemeClr val="tx1"/>
            </a:solidFill>
          </a:ln>
        </p:spPr>
      </p:pic>
      <p:sp>
        <p:nvSpPr>
          <p:cNvPr id="8" name="TextBox 7">
            <a:extLst>
              <a:ext uri="{FF2B5EF4-FFF2-40B4-BE49-F238E27FC236}">
                <a16:creationId xmlns:a16="http://schemas.microsoft.com/office/drawing/2014/main" id="{0D471927-05D6-828A-03D7-DA911AF15390}"/>
              </a:ext>
            </a:extLst>
          </p:cNvPr>
          <p:cNvSpPr txBox="1"/>
          <p:nvPr/>
        </p:nvSpPr>
        <p:spPr>
          <a:xfrm>
            <a:off x="146881" y="1561618"/>
            <a:ext cx="4441003" cy="2862322"/>
          </a:xfrm>
          <a:prstGeom prst="rect">
            <a:avLst/>
          </a:prstGeom>
          <a:noFill/>
        </p:spPr>
        <p:txBody>
          <a:bodyPr wrap="square" rtlCol="0">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Frequently referred to as “soft time”</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Provides a list of activities that are performed as part of LDC 45 </a:t>
            </a:r>
          </a:p>
          <a:p>
            <a:pPr defTabSz="914377"/>
            <a:endParaRPr lang="en-US" dirty="0">
              <a:solidFill>
                <a:prstClr val="black"/>
              </a:solidFill>
              <a:highlight>
                <a:srgbClr val="FFFF00"/>
              </a:highlight>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33% of earned transaction time is allocated for Ancillary activities; i.e. for every 45 minutes of earned transaction time a unit earns an additional 15 minutes.</a:t>
            </a:r>
          </a:p>
        </p:txBody>
      </p:sp>
    </p:spTree>
    <p:extLst>
      <p:ext uri="{BB962C8B-B14F-4D97-AF65-F5344CB8AC3E}">
        <p14:creationId xmlns:p14="http://schemas.microsoft.com/office/powerpoint/2010/main" val="2956507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02BEE4-F7B5-6C48-0BBC-38FFE3AD4F0D}"/>
              </a:ext>
            </a:extLst>
          </p:cNvPr>
          <p:cNvSpPr>
            <a:spLocks noGrp="1"/>
          </p:cNvSpPr>
          <p:nvPr>
            <p:ph type="title"/>
          </p:nvPr>
        </p:nvSpPr>
        <p:spPr/>
        <p:txBody>
          <a:bodyPr/>
          <a:lstStyle/>
          <a:p>
            <a:br>
              <a:rPr lang="en-US" sz="1200" b="0" dirty="0">
                <a:solidFill>
                  <a:srgbClr val="000000"/>
                </a:solidFill>
              </a:rPr>
            </a:br>
            <a:r>
              <a:rPr lang="en-US" sz="2400" dirty="0"/>
              <a:t>FY 2023 -LDC 45-Retail Window Service Metrics</a:t>
            </a:r>
            <a:endParaRPr lang="en-US" dirty="0"/>
          </a:p>
        </p:txBody>
      </p:sp>
      <p:pic>
        <p:nvPicPr>
          <p:cNvPr id="6" name="Content Placeholder 5">
            <a:extLst>
              <a:ext uri="{FF2B5EF4-FFF2-40B4-BE49-F238E27FC236}">
                <a16:creationId xmlns:a16="http://schemas.microsoft.com/office/drawing/2014/main" id="{FD5A5983-FF2F-8C47-25A9-0D1CD08D34AA}"/>
              </a:ext>
            </a:extLst>
          </p:cNvPr>
          <p:cNvPicPr>
            <a:picLocks noGrp="1" noChangeAspect="1"/>
          </p:cNvPicPr>
          <p:nvPr>
            <p:ph idx="1"/>
          </p:nvPr>
        </p:nvPicPr>
        <p:blipFill>
          <a:blip r:embed="rId2"/>
          <a:stretch>
            <a:fillRect/>
          </a:stretch>
        </p:blipFill>
        <p:spPr>
          <a:xfrm>
            <a:off x="258442" y="700847"/>
            <a:ext cx="11301573" cy="4267316"/>
          </a:xfrm>
        </p:spPr>
      </p:pic>
      <p:sp>
        <p:nvSpPr>
          <p:cNvPr id="4" name="Date Placeholder 3">
            <a:extLst>
              <a:ext uri="{FF2B5EF4-FFF2-40B4-BE49-F238E27FC236}">
                <a16:creationId xmlns:a16="http://schemas.microsoft.com/office/drawing/2014/main" id="{B9F4F253-D2FA-AF14-5042-A85599910AB1}"/>
              </a:ext>
            </a:extLst>
          </p:cNvPr>
          <p:cNvSpPr>
            <a:spLocks noGrp="1"/>
          </p:cNvSpPr>
          <p:nvPr>
            <p:ph type="dt" sz="half" idx="2"/>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79269FFA-AD1D-06C7-C451-1645208F2B7E}"/>
                  </a:ext>
                </a:extLst>
              </p14:cNvPr>
              <p14:cNvContentPartPr/>
              <p14:nvPr/>
            </p14:nvContentPartPr>
            <p14:xfrm>
              <a:off x="7629510" y="2468010"/>
              <a:ext cx="3779280" cy="85320"/>
            </p14:xfrm>
          </p:contentPart>
        </mc:Choice>
        <mc:Fallback xmlns="">
          <p:pic>
            <p:nvPicPr>
              <p:cNvPr id="3" name="Ink 2">
                <a:extLst>
                  <a:ext uri="{FF2B5EF4-FFF2-40B4-BE49-F238E27FC236}">
                    <a16:creationId xmlns:a16="http://schemas.microsoft.com/office/drawing/2014/main" id="{79269FFA-AD1D-06C7-C451-1645208F2B7E}"/>
                  </a:ext>
                </a:extLst>
              </p:cNvPr>
              <p:cNvPicPr/>
              <p:nvPr/>
            </p:nvPicPr>
            <p:blipFill>
              <a:blip r:embed="rId4"/>
              <a:stretch>
                <a:fillRect/>
              </a:stretch>
            </p:blipFill>
            <p:spPr>
              <a:xfrm>
                <a:off x="7623390" y="2461890"/>
                <a:ext cx="3791520" cy="97560"/>
              </a:xfrm>
              <a:prstGeom prst="rect">
                <a:avLst/>
              </a:prstGeom>
            </p:spPr>
          </p:pic>
        </mc:Fallback>
      </mc:AlternateContent>
    </p:spTree>
    <p:extLst>
      <p:ext uri="{BB962C8B-B14F-4D97-AF65-F5344CB8AC3E}">
        <p14:creationId xmlns:p14="http://schemas.microsoft.com/office/powerpoint/2010/main" val="38860079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5453D-DE4B-810F-39DA-832327FFB267}"/>
              </a:ext>
            </a:extLst>
          </p:cNvPr>
          <p:cNvSpPr>
            <a:spLocks noGrp="1"/>
          </p:cNvSpPr>
          <p:nvPr>
            <p:ph type="title"/>
          </p:nvPr>
        </p:nvSpPr>
        <p:spPr>
          <a:xfrm>
            <a:off x="372966" y="3"/>
            <a:ext cx="10512863" cy="566775"/>
          </a:xfrm>
        </p:spPr>
        <p:txBody>
          <a:bodyPr>
            <a:normAutofit/>
          </a:bodyPr>
          <a:lstStyle/>
          <a:p>
            <a:r>
              <a:rPr lang="en-US" sz="2800" dirty="0"/>
              <a:t>CSV Menu – LDC 45 LA</a:t>
            </a:r>
          </a:p>
        </p:txBody>
      </p:sp>
      <p:sp>
        <p:nvSpPr>
          <p:cNvPr id="5" name="Date Placeholder 4">
            <a:extLst>
              <a:ext uri="{FF2B5EF4-FFF2-40B4-BE49-F238E27FC236}">
                <a16:creationId xmlns:a16="http://schemas.microsoft.com/office/drawing/2014/main" id="{A1908C46-DBDA-E051-74EB-977C21FC9234}"/>
              </a:ext>
            </a:extLst>
          </p:cNvPr>
          <p:cNvSpPr>
            <a:spLocks noGrp="1"/>
          </p:cNvSpPr>
          <p:nvPr>
            <p:ph type="dt" sz="half" idx="10"/>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7" name="Picture 6">
            <a:extLst>
              <a:ext uri="{FF2B5EF4-FFF2-40B4-BE49-F238E27FC236}">
                <a16:creationId xmlns:a16="http://schemas.microsoft.com/office/drawing/2014/main" id="{C66BAB22-38FE-CA56-EA5E-7FB09AFA2103}"/>
              </a:ext>
            </a:extLst>
          </p:cNvPr>
          <p:cNvPicPr>
            <a:picLocks noChangeAspect="1"/>
          </p:cNvPicPr>
          <p:nvPr/>
        </p:nvPicPr>
        <p:blipFill>
          <a:blip r:embed="rId2"/>
          <a:stretch>
            <a:fillRect/>
          </a:stretch>
        </p:blipFill>
        <p:spPr>
          <a:xfrm>
            <a:off x="4564709" y="655447"/>
            <a:ext cx="7508643" cy="4926227"/>
          </a:xfrm>
          <a:prstGeom prst="rect">
            <a:avLst/>
          </a:prstGeom>
        </p:spPr>
      </p:pic>
      <p:sp>
        <p:nvSpPr>
          <p:cNvPr id="3" name="TextBox 2">
            <a:extLst>
              <a:ext uri="{FF2B5EF4-FFF2-40B4-BE49-F238E27FC236}">
                <a16:creationId xmlns:a16="http://schemas.microsoft.com/office/drawing/2014/main" id="{4A501CDF-80D4-9847-78A3-772DCEE21A0C}"/>
              </a:ext>
            </a:extLst>
          </p:cNvPr>
          <p:cNvSpPr txBox="1"/>
          <p:nvPr/>
        </p:nvSpPr>
        <p:spPr>
          <a:xfrm>
            <a:off x="223531" y="1687398"/>
            <a:ext cx="4154749" cy="3139321"/>
          </a:xfrm>
          <a:prstGeom prst="rect">
            <a:avLst/>
          </a:prstGeom>
          <a:noFill/>
        </p:spPr>
        <p:txBody>
          <a:bodyPr wrap="square" rtlCol="0">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Applies to offices with:</a:t>
            </a:r>
          </a:p>
          <a:p>
            <a:pPr marL="742932" lvl="1" indent="-285744" defTabSz="914377">
              <a:buFont typeface="Arial" panose="020B0604020202020204" pitchFamily="34" charset="0"/>
              <a:buChar char="•"/>
            </a:pPr>
            <a:r>
              <a:rPr lang="en-US" dirty="0">
                <a:solidFill>
                  <a:prstClr val="black"/>
                </a:solidFill>
                <a:latin typeface="Arial" panose="020B0604020202020204"/>
              </a:rPr>
              <a:t>Self-Service Kiosks (SSK)</a:t>
            </a:r>
          </a:p>
          <a:p>
            <a:pPr marL="742932" lvl="1" indent="-285744" defTabSz="914377">
              <a:buFont typeface="Arial" panose="020B0604020202020204" pitchFamily="34" charset="0"/>
              <a:buChar char="•"/>
            </a:pPr>
            <a:r>
              <a:rPr lang="en-US" dirty="0">
                <a:solidFill>
                  <a:prstClr val="black"/>
                </a:solidFill>
                <a:latin typeface="Arial" panose="020B0604020202020204"/>
              </a:rPr>
              <a:t>Automated Postal Centers (APC)</a:t>
            </a:r>
          </a:p>
          <a:p>
            <a:pPr marL="742932" lvl="1" indent="-285744" defTabSz="914377">
              <a:buFont typeface="Arial" panose="020B0604020202020204" pitchFamily="34" charset="0"/>
              <a:buChar char="•"/>
            </a:pPr>
            <a:r>
              <a:rPr lang="en-US" dirty="0">
                <a:solidFill>
                  <a:prstClr val="black"/>
                </a:solidFill>
                <a:latin typeface="Arial" panose="020B0604020202020204"/>
              </a:rPr>
              <a:t>Mobile Point of Sale (</a:t>
            </a:r>
            <a:r>
              <a:rPr lang="en-US" dirty="0" err="1">
                <a:solidFill>
                  <a:prstClr val="black"/>
                </a:solidFill>
                <a:latin typeface="Arial" panose="020B0604020202020204"/>
              </a:rPr>
              <a:t>mPOS</a:t>
            </a:r>
            <a:r>
              <a:rPr lang="en-US" dirty="0">
                <a:solidFill>
                  <a:prstClr val="black"/>
                </a:solidFill>
                <a:latin typeface="Arial" panose="020B0604020202020204"/>
              </a:rPr>
              <a:t>)</a:t>
            </a:r>
          </a:p>
          <a:p>
            <a:pPr marL="742932" lvl="1"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Provides information on the calculations used to determine earned workhours for lobby assistance</a:t>
            </a:r>
          </a:p>
          <a:p>
            <a:pPr defTabSz="914377"/>
            <a:endParaRPr lang="en-US" dirty="0">
              <a:solidFill>
                <a:prstClr val="black"/>
              </a:solidFill>
              <a:latin typeface="Arial" panose="020B0604020202020204"/>
            </a:endParaRPr>
          </a:p>
        </p:txBody>
      </p:sp>
    </p:spTree>
    <p:extLst>
      <p:ext uri="{BB962C8B-B14F-4D97-AF65-F5344CB8AC3E}">
        <p14:creationId xmlns:p14="http://schemas.microsoft.com/office/powerpoint/2010/main" val="4619666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77102F1-5F32-273A-257A-4E27D2C677B9}"/>
              </a:ext>
            </a:extLst>
          </p:cNvPr>
          <p:cNvSpPr txBox="1">
            <a:spLocks noGrp="1"/>
          </p:cNvSpPr>
          <p:nvPr>
            <p:ph idx="1"/>
          </p:nvPr>
        </p:nvSpPr>
        <p:spPr>
          <a:prstGeom prst="rect">
            <a:avLst/>
          </a:prstGeom>
          <a:noFill/>
        </p:spPr>
        <p:txBody>
          <a:bodyPr wrap="square" anchor="ctr">
            <a:spAutoFit/>
          </a:bodyPr>
          <a:lstStyle/>
          <a:p>
            <a:pPr marL="285744" indent="-285744">
              <a:buFont typeface="Arial" panose="020B0604020202020204" pitchFamily="34" charset="0"/>
              <a:buChar char="•"/>
            </a:pPr>
            <a:r>
              <a:rPr lang="en-US" sz="1800" dirty="0"/>
              <a:t>Management model that provides complement, workhour, productivity, workload and route/delivery analysis. It calculates actual versus earned workhour performance against standardized target productivity expectations and trends performance from national results to the unit level.</a:t>
            </a:r>
          </a:p>
          <a:p>
            <a:endParaRPr lang="en-US" sz="1800" dirty="0"/>
          </a:p>
          <a:p>
            <a:pPr marL="285744" indent="-285744">
              <a:buFont typeface="Arial" panose="020B0604020202020204" pitchFamily="34" charset="0"/>
              <a:buChar char="•"/>
            </a:pPr>
            <a:r>
              <a:rPr lang="en-US" sz="1800" dirty="0"/>
              <a:t>CSV is the Function 4 model in the suite of Variance Programs for Cost Ascertainment Grouping (CAG)  A-G offices. This is the</a:t>
            </a:r>
            <a:r>
              <a:rPr lang="en-US" sz="1800" dirty="0">
                <a:latin typeface="Arial"/>
                <a:cs typeface="Arial"/>
              </a:rPr>
              <a:t> parent application to additional F4 programs including:</a:t>
            </a:r>
          </a:p>
          <a:p>
            <a:pPr marL="742795" lvl="1" indent="-285744">
              <a:buFont typeface="Arial" panose="020B0604020202020204" pitchFamily="34" charset="0"/>
              <a:buChar char="•"/>
            </a:pPr>
            <a:r>
              <a:rPr lang="en-US" sz="1600" dirty="0">
                <a:latin typeface="Arial"/>
                <a:cs typeface="Arial"/>
              </a:rPr>
              <a:t> Customer Service Staffing Opportunity Model (CSSOM)</a:t>
            </a:r>
          </a:p>
          <a:p>
            <a:pPr marL="742795" lvl="1" indent="-285744">
              <a:buFont typeface="Arial" panose="020B0604020202020204" pitchFamily="34" charset="0"/>
              <a:buChar char="•"/>
            </a:pPr>
            <a:r>
              <a:rPr lang="en-US" sz="1600" dirty="0">
                <a:latin typeface="Arial"/>
                <a:cs typeface="Arial"/>
              </a:rPr>
              <a:t> F4 Lean Matrix</a:t>
            </a:r>
          </a:p>
          <a:p>
            <a:pPr lvl="1"/>
            <a:endParaRPr lang="en-US" sz="1600" dirty="0">
              <a:latin typeface="Arial"/>
              <a:cs typeface="Arial"/>
            </a:endParaRPr>
          </a:p>
          <a:p>
            <a:pPr marL="285744" indent="-285744">
              <a:buFont typeface="Arial" panose="020B0604020202020204" pitchFamily="34" charset="0"/>
              <a:buChar char="•"/>
            </a:pPr>
            <a:r>
              <a:rPr lang="en-US" sz="1800" dirty="0"/>
              <a:t>Performance management tool used to right size complement and identify work hour reduction opportunities down to the unit level. The model relies on accurate data from multiple sources and manual inputs. The Variance Programs output is only as valuable as the data supplied.</a:t>
            </a:r>
          </a:p>
          <a:p>
            <a:pPr marL="285744" indent="-285744">
              <a:buFont typeface="Arial" panose="020B0604020202020204" pitchFamily="34" charset="0"/>
              <a:buChar char="•"/>
            </a:pPr>
            <a:endParaRPr lang="en-US" sz="2000" dirty="0"/>
          </a:p>
        </p:txBody>
      </p:sp>
      <p:sp>
        <p:nvSpPr>
          <p:cNvPr id="2" name="Title 1">
            <a:extLst>
              <a:ext uri="{FF2B5EF4-FFF2-40B4-BE49-F238E27FC236}">
                <a16:creationId xmlns:a16="http://schemas.microsoft.com/office/drawing/2014/main" id="{2D4BDFE9-8664-AAB9-CC37-C96C8890C901}"/>
              </a:ext>
            </a:extLst>
          </p:cNvPr>
          <p:cNvSpPr>
            <a:spLocks noGrp="1"/>
          </p:cNvSpPr>
          <p:nvPr>
            <p:ph type="title"/>
          </p:nvPr>
        </p:nvSpPr>
        <p:spPr>
          <a:xfrm>
            <a:off x="469900" y="418660"/>
            <a:ext cx="11252200" cy="883288"/>
          </a:xfrm>
        </p:spPr>
        <p:txBody>
          <a:bodyPr>
            <a:normAutofit/>
          </a:bodyPr>
          <a:lstStyle/>
          <a:p>
            <a:r>
              <a:rPr lang="en-US" sz="3600" dirty="0"/>
              <a:t>CSV and its purpose?</a:t>
            </a:r>
          </a:p>
        </p:txBody>
      </p:sp>
      <p:sp>
        <p:nvSpPr>
          <p:cNvPr id="4" name="Date Placeholder 3">
            <a:extLst>
              <a:ext uri="{FF2B5EF4-FFF2-40B4-BE49-F238E27FC236}">
                <a16:creationId xmlns:a16="http://schemas.microsoft.com/office/drawing/2014/main" id="{C6DF0403-8739-AE5F-15AD-2596B2CFC0B1}"/>
              </a:ext>
            </a:extLst>
          </p:cNvPr>
          <p:cNvSpPr>
            <a:spLocks noGrp="1"/>
          </p:cNvSpPr>
          <p:nvPr>
            <p:ph type="dt" sz="half" idx="4294967295"/>
          </p:nvPr>
        </p:nvSpPr>
        <p:spPr>
          <a:xfrm>
            <a:off x="0" y="6462713"/>
            <a:ext cx="1143000" cy="236537"/>
          </a:xfrm>
        </p:spPr>
        <p:txBody>
          <a:bodyPr/>
          <a:lstStyle/>
          <a:p>
            <a:pPr defTabSz="914377">
              <a:defRPr/>
            </a:pPr>
            <a:fld id="{2A32838C-5203-4A13-8D33-AC09A091C092}" type="datetime1">
              <a:rPr lang="en-US">
                <a:solidFill>
                  <a:prstClr val="white">
                    <a:lumMod val="85000"/>
                  </a:prstClr>
                </a:solidFill>
                <a:latin typeface="Arial" panose="020B0604020202020204"/>
              </a:rPr>
              <a:pPr defTabSz="914377">
                <a:defRPr/>
              </a:pPr>
              <a:t>9/24/2024</a:t>
            </a:fld>
            <a:endParaRPr lang="en-US" dirty="0">
              <a:solidFill>
                <a:prstClr val="white">
                  <a:lumMod val="85000"/>
                </a:prstClr>
              </a:solidFill>
              <a:latin typeface="Arial" panose="020B0604020202020204"/>
            </a:endParaRPr>
          </a:p>
        </p:txBody>
      </p:sp>
      <p:sp>
        <p:nvSpPr>
          <p:cNvPr id="6" name="Content Placeholder 5">
            <a:extLst>
              <a:ext uri="{FF2B5EF4-FFF2-40B4-BE49-F238E27FC236}">
                <a16:creationId xmlns:a16="http://schemas.microsoft.com/office/drawing/2014/main" id="{6A991AA8-0F16-DBF8-A1B5-D3A32A056555}"/>
              </a:ext>
            </a:extLst>
          </p:cNvPr>
          <p:cNvSpPr txBox="1">
            <a:spLocks/>
          </p:cNvSpPr>
          <p:nvPr/>
        </p:nvSpPr>
        <p:spPr>
          <a:xfrm>
            <a:off x="763152" y="3853621"/>
            <a:ext cx="10824579" cy="3080579"/>
          </a:xfrm>
          <a:prstGeom prst="rect">
            <a:avLst/>
          </a:prstGeom>
        </p:spPr>
        <p:txBody>
          <a:bodyPr vert="horz" lIns="91440" tIns="45720" rIns="91440" bIns="45720" rtlCol="0" anchor="ctr">
            <a:normAutofit/>
          </a:bodyPr>
          <a:lstStyle>
            <a:lvl1pPr marL="0" indent="0" algn="l" defTabSz="914126"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defTabSz="914104">
              <a:defRPr/>
            </a:pPr>
            <a:r>
              <a:rPr lang="en-US" sz="1800" dirty="0">
                <a:solidFill>
                  <a:prstClr val="black"/>
                </a:solidFill>
              </a:rPr>
              <a:t>         </a:t>
            </a:r>
            <a:endParaRPr lang="en-US" dirty="0">
              <a:solidFill>
                <a:prstClr val="black"/>
              </a:solidFill>
            </a:endParaRPr>
          </a:p>
        </p:txBody>
      </p:sp>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0EE241DE-0BCC-57E2-1C87-A37C00507797}"/>
                  </a:ext>
                </a:extLst>
              </p14:cNvPr>
              <p14:cNvContentPartPr/>
              <p14:nvPr/>
            </p14:nvContentPartPr>
            <p14:xfrm>
              <a:off x="752430" y="4847220"/>
              <a:ext cx="11001960" cy="580320"/>
            </p14:xfrm>
          </p:contentPart>
        </mc:Choice>
        <mc:Fallback xmlns="">
          <p:pic>
            <p:nvPicPr>
              <p:cNvPr id="7" name="Ink 6">
                <a:extLst>
                  <a:ext uri="{FF2B5EF4-FFF2-40B4-BE49-F238E27FC236}">
                    <a16:creationId xmlns:a16="http://schemas.microsoft.com/office/drawing/2014/main" id="{0EE241DE-0BCC-57E2-1C87-A37C00507797}"/>
                  </a:ext>
                </a:extLst>
              </p:cNvPr>
              <p:cNvPicPr/>
              <p:nvPr/>
            </p:nvPicPr>
            <p:blipFill>
              <a:blip r:embed="rId4"/>
              <a:stretch>
                <a:fillRect/>
              </a:stretch>
            </p:blipFill>
            <p:spPr>
              <a:xfrm>
                <a:off x="662430" y="4667220"/>
                <a:ext cx="11181600" cy="939960"/>
              </a:xfrm>
              <a:prstGeom prst="rect">
                <a:avLst/>
              </a:prstGeom>
            </p:spPr>
          </p:pic>
        </mc:Fallback>
      </mc:AlternateContent>
    </p:spTree>
    <p:extLst>
      <p:ext uri="{BB962C8B-B14F-4D97-AF65-F5344CB8AC3E}">
        <p14:creationId xmlns:p14="http://schemas.microsoft.com/office/powerpoint/2010/main" val="209391026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15DB5-AE81-8173-75D5-611FED71247A}"/>
              </a:ext>
            </a:extLst>
          </p:cNvPr>
          <p:cNvSpPr>
            <a:spLocks noGrp="1"/>
          </p:cNvSpPr>
          <p:nvPr>
            <p:ph type="title"/>
          </p:nvPr>
        </p:nvSpPr>
        <p:spPr>
          <a:xfrm>
            <a:off x="372966" y="3"/>
            <a:ext cx="10512863" cy="536547"/>
          </a:xfrm>
        </p:spPr>
        <p:txBody>
          <a:bodyPr>
            <a:normAutofit/>
          </a:bodyPr>
          <a:lstStyle/>
          <a:p>
            <a:r>
              <a:rPr lang="en-US" sz="2800" dirty="0"/>
              <a:t>CSV Menu – LDC 48      </a:t>
            </a:r>
            <a:r>
              <a:rPr lang="en-US" sz="1200" dirty="0"/>
              <a:t>Postal One / Validate collection pickups, PFS amount, </a:t>
            </a:r>
            <a:endParaRPr lang="en-US" sz="2800" dirty="0"/>
          </a:p>
        </p:txBody>
      </p:sp>
      <p:sp>
        <p:nvSpPr>
          <p:cNvPr id="5" name="Date Placeholder 4">
            <a:extLst>
              <a:ext uri="{FF2B5EF4-FFF2-40B4-BE49-F238E27FC236}">
                <a16:creationId xmlns:a16="http://schemas.microsoft.com/office/drawing/2014/main" id="{0BF2BB2E-9C50-E2E3-A03E-7F2D18676907}"/>
              </a:ext>
            </a:extLst>
          </p:cNvPr>
          <p:cNvSpPr>
            <a:spLocks noGrp="1"/>
          </p:cNvSpPr>
          <p:nvPr>
            <p:ph type="dt" sz="half" idx="10"/>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7" name="Picture 6">
            <a:extLst>
              <a:ext uri="{FF2B5EF4-FFF2-40B4-BE49-F238E27FC236}">
                <a16:creationId xmlns:a16="http://schemas.microsoft.com/office/drawing/2014/main" id="{DDA8896E-278F-812E-6605-6BAAA99138FC}"/>
              </a:ext>
            </a:extLst>
          </p:cNvPr>
          <p:cNvPicPr>
            <a:picLocks noChangeAspect="1"/>
          </p:cNvPicPr>
          <p:nvPr/>
        </p:nvPicPr>
        <p:blipFill>
          <a:blip r:embed="rId2"/>
          <a:stretch>
            <a:fillRect/>
          </a:stretch>
        </p:blipFill>
        <p:spPr>
          <a:xfrm>
            <a:off x="4468312" y="599625"/>
            <a:ext cx="7325227" cy="5355312"/>
          </a:xfrm>
          <a:prstGeom prst="rect">
            <a:avLst/>
          </a:prstGeom>
        </p:spPr>
      </p:pic>
      <p:sp>
        <p:nvSpPr>
          <p:cNvPr id="12" name="TextBox 11">
            <a:extLst>
              <a:ext uri="{FF2B5EF4-FFF2-40B4-BE49-F238E27FC236}">
                <a16:creationId xmlns:a16="http://schemas.microsoft.com/office/drawing/2014/main" id="{9954AA90-69A6-1600-22CC-F10E724A5E15}"/>
              </a:ext>
            </a:extLst>
          </p:cNvPr>
          <p:cNvSpPr txBox="1"/>
          <p:nvPr/>
        </p:nvSpPr>
        <p:spPr>
          <a:xfrm>
            <a:off x="193020" y="738125"/>
            <a:ext cx="4112003" cy="5078313"/>
          </a:xfrm>
          <a:prstGeom prst="rect">
            <a:avLst/>
          </a:prstGeom>
          <a:noFill/>
        </p:spPr>
        <p:txBody>
          <a:bodyPr wrap="square" rtlCol="0">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Provides in depth breakdown of LDC 48 earned hours by individual metric </a:t>
            </a:r>
          </a:p>
          <a:p>
            <a:pPr defTabSz="914377"/>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Bench value only updated at the beginning of each fiscal year except for items in bold</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Earned hours = bench value times work element metric for each workload element</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Provides total earned minutes per day for the reporting period selected. </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Converted to hours per day by dividing by 60 minutes</a:t>
            </a: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78A3889C-6F3B-00E7-E77E-0BEEA9AAA66C}"/>
                  </a:ext>
                </a:extLst>
              </p14:cNvPr>
              <p14:cNvContentPartPr/>
              <p14:nvPr/>
            </p14:nvContentPartPr>
            <p14:xfrm>
              <a:off x="11815294" y="1423096"/>
              <a:ext cx="72720" cy="68760"/>
            </p14:xfrm>
          </p:contentPart>
        </mc:Choice>
        <mc:Fallback xmlns="">
          <p:pic>
            <p:nvPicPr>
              <p:cNvPr id="3" name="Ink 2">
                <a:extLst>
                  <a:ext uri="{FF2B5EF4-FFF2-40B4-BE49-F238E27FC236}">
                    <a16:creationId xmlns:a16="http://schemas.microsoft.com/office/drawing/2014/main" id="{78A3889C-6F3B-00E7-E77E-0BEEA9AAA66C}"/>
                  </a:ext>
                </a:extLst>
              </p:cNvPr>
              <p:cNvPicPr/>
              <p:nvPr/>
            </p:nvPicPr>
            <p:blipFill>
              <a:blip r:embed="rId4"/>
              <a:stretch>
                <a:fillRect/>
              </a:stretch>
            </p:blipFill>
            <p:spPr>
              <a:xfrm>
                <a:off x="11809174" y="1416976"/>
                <a:ext cx="84960" cy="81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BEEEDE7E-26FD-1F1B-693B-F23C9942DFAB}"/>
                  </a:ext>
                </a:extLst>
              </p14:cNvPr>
              <p14:cNvContentPartPr/>
              <p14:nvPr/>
            </p14:nvContentPartPr>
            <p14:xfrm>
              <a:off x="11824654" y="1399336"/>
              <a:ext cx="72360" cy="105480"/>
            </p14:xfrm>
          </p:contentPart>
        </mc:Choice>
        <mc:Fallback xmlns="">
          <p:pic>
            <p:nvPicPr>
              <p:cNvPr id="4" name="Ink 3">
                <a:extLst>
                  <a:ext uri="{FF2B5EF4-FFF2-40B4-BE49-F238E27FC236}">
                    <a16:creationId xmlns:a16="http://schemas.microsoft.com/office/drawing/2014/main" id="{BEEEDE7E-26FD-1F1B-693B-F23C9942DFAB}"/>
                  </a:ext>
                </a:extLst>
              </p:cNvPr>
              <p:cNvPicPr/>
              <p:nvPr/>
            </p:nvPicPr>
            <p:blipFill>
              <a:blip r:embed="rId6"/>
              <a:stretch>
                <a:fillRect/>
              </a:stretch>
            </p:blipFill>
            <p:spPr>
              <a:xfrm>
                <a:off x="11818534" y="1393216"/>
                <a:ext cx="84600" cy="1177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6" name="Ink 5">
                <a:extLst>
                  <a:ext uri="{FF2B5EF4-FFF2-40B4-BE49-F238E27FC236}">
                    <a16:creationId xmlns:a16="http://schemas.microsoft.com/office/drawing/2014/main" id="{4061D175-84DF-A551-FBF4-AB302239C1E5}"/>
                  </a:ext>
                </a:extLst>
              </p14:cNvPr>
              <p14:cNvContentPartPr/>
              <p14:nvPr/>
            </p14:nvContentPartPr>
            <p14:xfrm>
              <a:off x="11815654" y="2275576"/>
              <a:ext cx="87840" cy="141480"/>
            </p14:xfrm>
          </p:contentPart>
        </mc:Choice>
        <mc:Fallback xmlns="">
          <p:pic>
            <p:nvPicPr>
              <p:cNvPr id="6" name="Ink 5">
                <a:extLst>
                  <a:ext uri="{FF2B5EF4-FFF2-40B4-BE49-F238E27FC236}">
                    <a16:creationId xmlns:a16="http://schemas.microsoft.com/office/drawing/2014/main" id="{4061D175-84DF-A551-FBF4-AB302239C1E5}"/>
                  </a:ext>
                </a:extLst>
              </p:cNvPr>
              <p:cNvPicPr/>
              <p:nvPr/>
            </p:nvPicPr>
            <p:blipFill>
              <a:blip r:embed="rId8"/>
              <a:stretch>
                <a:fillRect/>
              </a:stretch>
            </p:blipFill>
            <p:spPr>
              <a:xfrm>
                <a:off x="11809534" y="2269456"/>
                <a:ext cx="100080" cy="15372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8" name="Ink 7">
                <a:extLst>
                  <a:ext uri="{FF2B5EF4-FFF2-40B4-BE49-F238E27FC236}">
                    <a16:creationId xmlns:a16="http://schemas.microsoft.com/office/drawing/2014/main" id="{8E31D59C-8B1C-4B20-A47E-2B77CF2DCAEC}"/>
                  </a:ext>
                </a:extLst>
              </p14:cNvPr>
              <p14:cNvContentPartPr/>
              <p14:nvPr/>
            </p14:nvContentPartPr>
            <p14:xfrm>
              <a:off x="11844814" y="3211216"/>
              <a:ext cx="117720" cy="111600"/>
            </p14:xfrm>
          </p:contentPart>
        </mc:Choice>
        <mc:Fallback xmlns="">
          <p:pic>
            <p:nvPicPr>
              <p:cNvPr id="8" name="Ink 7">
                <a:extLst>
                  <a:ext uri="{FF2B5EF4-FFF2-40B4-BE49-F238E27FC236}">
                    <a16:creationId xmlns:a16="http://schemas.microsoft.com/office/drawing/2014/main" id="{8E31D59C-8B1C-4B20-A47E-2B77CF2DCAEC}"/>
                  </a:ext>
                </a:extLst>
              </p:cNvPr>
              <p:cNvPicPr/>
              <p:nvPr/>
            </p:nvPicPr>
            <p:blipFill>
              <a:blip r:embed="rId10"/>
              <a:stretch>
                <a:fillRect/>
              </a:stretch>
            </p:blipFill>
            <p:spPr>
              <a:xfrm>
                <a:off x="11838694" y="3205096"/>
                <a:ext cx="129960" cy="1238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9" name="Ink 8">
                <a:extLst>
                  <a:ext uri="{FF2B5EF4-FFF2-40B4-BE49-F238E27FC236}">
                    <a16:creationId xmlns:a16="http://schemas.microsoft.com/office/drawing/2014/main" id="{FE5E8D37-B279-8CE1-5C6D-4DA8A8BC22D3}"/>
                  </a:ext>
                </a:extLst>
              </p14:cNvPr>
              <p14:cNvContentPartPr/>
              <p14:nvPr/>
            </p14:nvContentPartPr>
            <p14:xfrm>
              <a:off x="11861374" y="4141096"/>
              <a:ext cx="97920" cy="106560"/>
            </p14:xfrm>
          </p:contentPart>
        </mc:Choice>
        <mc:Fallback xmlns="">
          <p:pic>
            <p:nvPicPr>
              <p:cNvPr id="9" name="Ink 8">
                <a:extLst>
                  <a:ext uri="{FF2B5EF4-FFF2-40B4-BE49-F238E27FC236}">
                    <a16:creationId xmlns:a16="http://schemas.microsoft.com/office/drawing/2014/main" id="{FE5E8D37-B279-8CE1-5C6D-4DA8A8BC22D3}"/>
                  </a:ext>
                </a:extLst>
              </p:cNvPr>
              <p:cNvPicPr/>
              <p:nvPr/>
            </p:nvPicPr>
            <p:blipFill>
              <a:blip r:embed="rId12"/>
              <a:stretch>
                <a:fillRect/>
              </a:stretch>
            </p:blipFill>
            <p:spPr>
              <a:xfrm>
                <a:off x="11855254" y="4134976"/>
                <a:ext cx="110160" cy="1188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5" name="Ink 14">
                <a:extLst>
                  <a:ext uri="{FF2B5EF4-FFF2-40B4-BE49-F238E27FC236}">
                    <a16:creationId xmlns:a16="http://schemas.microsoft.com/office/drawing/2014/main" id="{9AE3E468-4CE1-2DC1-769F-CA9607AF7A46}"/>
                  </a:ext>
                </a:extLst>
              </p14:cNvPr>
              <p14:cNvContentPartPr/>
              <p14:nvPr/>
            </p14:nvContentPartPr>
            <p14:xfrm>
              <a:off x="4532134" y="2337496"/>
              <a:ext cx="1091160" cy="40680"/>
            </p14:xfrm>
          </p:contentPart>
        </mc:Choice>
        <mc:Fallback xmlns="">
          <p:pic>
            <p:nvPicPr>
              <p:cNvPr id="15" name="Ink 14">
                <a:extLst>
                  <a:ext uri="{FF2B5EF4-FFF2-40B4-BE49-F238E27FC236}">
                    <a16:creationId xmlns:a16="http://schemas.microsoft.com/office/drawing/2014/main" id="{9AE3E468-4CE1-2DC1-769F-CA9607AF7A46}"/>
                  </a:ext>
                </a:extLst>
              </p:cNvPr>
              <p:cNvPicPr/>
              <p:nvPr/>
            </p:nvPicPr>
            <p:blipFill>
              <a:blip r:embed="rId14"/>
              <a:stretch>
                <a:fillRect/>
              </a:stretch>
            </p:blipFill>
            <p:spPr>
              <a:xfrm>
                <a:off x="4496134" y="2265856"/>
                <a:ext cx="1162800" cy="18432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6" name="Ink 15">
                <a:extLst>
                  <a:ext uri="{FF2B5EF4-FFF2-40B4-BE49-F238E27FC236}">
                    <a16:creationId xmlns:a16="http://schemas.microsoft.com/office/drawing/2014/main" id="{B65A0D79-7683-59B1-9548-F448F13E2988}"/>
                  </a:ext>
                </a:extLst>
              </p14:cNvPr>
              <p14:cNvContentPartPr/>
              <p14:nvPr/>
            </p14:nvContentPartPr>
            <p14:xfrm>
              <a:off x="4532134" y="4173496"/>
              <a:ext cx="1621440" cy="49680"/>
            </p14:xfrm>
          </p:contentPart>
        </mc:Choice>
        <mc:Fallback xmlns="">
          <p:pic>
            <p:nvPicPr>
              <p:cNvPr id="16" name="Ink 15">
                <a:extLst>
                  <a:ext uri="{FF2B5EF4-FFF2-40B4-BE49-F238E27FC236}">
                    <a16:creationId xmlns:a16="http://schemas.microsoft.com/office/drawing/2014/main" id="{B65A0D79-7683-59B1-9548-F448F13E2988}"/>
                  </a:ext>
                </a:extLst>
              </p:cNvPr>
              <p:cNvPicPr/>
              <p:nvPr/>
            </p:nvPicPr>
            <p:blipFill>
              <a:blip r:embed="rId16"/>
              <a:stretch>
                <a:fillRect/>
              </a:stretch>
            </p:blipFill>
            <p:spPr>
              <a:xfrm>
                <a:off x="4496134" y="4101496"/>
                <a:ext cx="1693080" cy="19332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7" name="Ink 16">
                <a:extLst>
                  <a:ext uri="{FF2B5EF4-FFF2-40B4-BE49-F238E27FC236}">
                    <a16:creationId xmlns:a16="http://schemas.microsoft.com/office/drawing/2014/main" id="{C22E27B2-6F46-CEDA-279C-DDFB06D09B6E}"/>
                  </a:ext>
                </a:extLst>
              </p14:cNvPr>
              <p14:cNvContentPartPr/>
              <p14:nvPr/>
            </p14:nvContentPartPr>
            <p14:xfrm>
              <a:off x="4540054" y="1438936"/>
              <a:ext cx="1653480" cy="32400"/>
            </p14:xfrm>
          </p:contentPart>
        </mc:Choice>
        <mc:Fallback xmlns="">
          <p:pic>
            <p:nvPicPr>
              <p:cNvPr id="17" name="Ink 16">
                <a:extLst>
                  <a:ext uri="{FF2B5EF4-FFF2-40B4-BE49-F238E27FC236}">
                    <a16:creationId xmlns:a16="http://schemas.microsoft.com/office/drawing/2014/main" id="{C22E27B2-6F46-CEDA-279C-DDFB06D09B6E}"/>
                  </a:ext>
                </a:extLst>
              </p:cNvPr>
              <p:cNvPicPr/>
              <p:nvPr/>
            </p:nvPicPr>
            <p:blipFill>
              <a:blip r:embed="rId18"/>
              <a:stretch>
                <a:fillRect/>
              </a:stretch>
            </p:blipFill>
            <p:spPr>
              <a:xfrm>
                <a:off x="4504414" y="1367296"/>
                <a:ext cx="1725120" cy="17604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8" name="Ink 17">
                <a:extLst>
                  <a:ext uri="{FF2B5EF4-FFF2-40B4-BE49-F238E27FC236}">
                    <a16:creationId xmlns:a16="http://schemas.microsoft.com/office/drawing/2014/main" id="{9234CC06-8D9F-0074-D237-1DAD833E8260}"/>
                  </a:ext>
                </a:extLst>
              </p14:cNvPr>
              <p14:cNvContentPartPr/>
              <p14:nvPr/>
            </p14:nvContentPartPr>
            <p14:xfrm>
              <a:off x="4524214" y="4641136"/>
              <a:ext cx="1591560" cy="58320"/>
            </p14:xfrm>
          </p:contentPart>
        </mc:Choice>
        <mc:Fallback xmlns="">
          <p:pic>
            <p:nvPicPr>
              <p:cNvPr id="18" name="Ink 17">
                <a:extLst>
                  <a:ext uri="{FF2B5EF4-FFF2-40B4-BE49-F238E27FC236}">
                    <a16:creationId xmlns:a16="http://schemas.microsoft.com/office/drawing/2014/main" id="{9234CC06-8D9F-0074-D237-1DAD833E8260}"/>
                  </a:ext>
                </a:extLst>
              </p:cNvPr>
              <p:cNvPicPr/>
              <p:nvPr/>
            </p:nvPicPr>
            <p:blipFill>
              <a:blip r:embed="rId20"/>
              <a:stretch>
                <a:fillRect/>
              </a:stretch>
            </p:blipFill>
            <p:spPr>
              <a:xfrm>
                <a:off x="4488214" y="4569496"/>
                <a:ext cx="1663200" cy="20196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9" name="Ink 18">
                <a:extLst>
                  <a:ext uri="{FF2B5EF4-FFF2-40B4-BE49-F238E27FC236}">
                    <a16:creationId xmlns:a16="http://schemas.microsoft.com/office/drawing/2014/main" id="{90815770-2323-A936-A4BA-5E70A5DAB86C}"/>
                  </a:ext>
                </a:extLst>
              </p14:cNvPr>
              <p14:cNvContentPartPr/>
              <p14:nvPr/>
            </p14:nvContentPartPr>
            <p14:xfrm>
              <a:off x="4353574" y="3158296"/>
              <a:ext cx="846720" cy="236880"/>
            </p14:xfrm>
          </p:contentPart>
        </mc:Choice>
        <mc:Fallback xmlns="">
          <p:pic>
            <p:nvPicPr>
              <p:cNvPr id="19" name="Ink 18">
                <a:extLst>
                  <a:ext uri="{FF2B5EF4-FFF2-40B4-BE49-F238E27FC236}">
                    <a16:creationId xmlns:a16="http://schemas.microsoft.com/office/drawing/2014/main" id="{90815770-2323-A936-A4BA-5E70A5DAB86C}"/>
                  </a:ext>
                </a:extLst>
              </p:cNvPr>
              <p:cNvPicPr/>
              <p:nvPr/>
            </p:nvPicPr>
            <p:blipFill>
              <a:blip r:embed="rId22"/>
              <a:stretch>
                <a:fillRect/>
              </a:stretch>
            </p:blipFill>
            <p:spPr>
              <a:xfrm>
                <a:off x="4347454" y="3152176"/>
                <a:ext cx="858960" cy="24912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0" name="Ink 19">
                <a:extLst>
                  <a:ext uri="{FF2B5EF4-FFF2-40B4-BE49-F238E27FC236}">
                    <a16:creationId xmlns:a16="http://schemas.microsoft.com/office/drawing/2014/main" id="{606773AA-DBE3-25FA-576B-1382D6BBDBF0}"/>
                  </a:ext>
                </a:extLst>
              </p14:cNvPr>
              <p14:cNvContentPartPr/>
              <p14:nvPr/>
            </p14:nvContentPartPr>
            <p14:xfrm>
              <a:off x="11790094" y="4606576"/>
              <a:ext cx="142920" cy="173160"/>
            </p14:xfrm>
          </p:contentPart>
        </mc:Choice>
        <mc:Fallback xmlns="">
          <p:pic>
            <p:nvPicPr>
              <p:cNvPr id="20" name="Ink 19">
                <a:extLst>
                  <a:ext uri="{FF2B5EF4-FFF2-40B4-BE49-F238E27FC236}">
                    <a16:creationId xmlns:a16="http://schemas.microsoft.com/office/drawing/2014/main" id="{606773AA-DBE3-25FA-576B-1382D6BBDBF0}"/>
                  </a:ext>
                </a:extLst>
              </p:cNvPr>
              <p:cNvPicPr/>
              <p:nvPr/>
            </p:nvPicPr>
            <p:blipFill>
              <a:blip r:embed="rId24"/>
              <a:stretch>
                <a:fillRect/>
              </a:stretch>
            </p:blipFill>
            <p:spPr>
              <a:xfrm>
                <a:off x="11783974" y="4600456"/>
                <a:ext cx="155160" cy="18540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2" name="Ink 21">
                <a:extLst>
                  <a:ext uri="{FF2B5EF4-FFF2-40B4-BE49-F238E27FC236}">
                    <a16:creationId xmlns:a16="http://schemas.microsoft.com/office/drawing/2014/main" id="{DCBD179D-A346-69CC-11E9-7EE318B71E9C}"/>
                  </a:ext>
                </a:extLst>
              </p14:cNvPr>
              <p14:cNvContentPartPr/>
              <p14:nvPr/>
            </p14:nvContentPartPr>
            <p14:xfrm>
              <a:off x="1780950" y="1133160"/>
              <a:ext cx="360" cy="360"/>
            </p14:xfrm>
          </p:contentPart>
        </mc:Choice>
        <mc:Fallback xmlns="">
          <p:pic>
            <p:nvPicPr>
              <p:cNvPr id="22" name="Ink 21">
                <a:extLst>
                  <a:ext uri="{FF2B5EF4-FFF2-40B4-BE49-F238E27FC236}">
                    <a16:creationId xmlns:a16="http://schemas.microsoft.com/office/drawing/2014/main" id="{DCBD179D-A346-69CC-11E9-7EE318B71E9C}"/>
                  </a:ext>
                </a:extLst>
              </p:cNvPr>
              <p:cNvPicPr/>
              <p:nvPr/>
            </p:nvPicPr>
            <p:blipFill>
              <a:blip r:embed="rId26"/>
              <a:stretch>
                <a:fillRect/>
              </a:stretch>
            </p:blipFill>
            <p:spPr>
              <a:xfrm>
                <a:off x="1774830" y="1127040"/>
                <a:ext cx="12600" cy="12600"/>
              </a:xfrm>
              <a:prstGeom prst="rect">
                <a:avLst/>
              </a:prstGeom>
            </p:spPr>
          </p:pic>
        </mc:Fallback>
      </mc:AlternateContent>
      <p:grpSp>
        <p:nvGrpSpPr>
          <p:cNvPr id="30" name="Group 29">
            <a:extLst>
              <a:ext uri="{FF2B5EF4-FFF2-40B4-BE49-F238E27FC236}">
                <a16:creationId xmlns:a16="http://schemas.microsoft.com/office/drawing/2014/main" id="{4AC9902B-13DC-E584-32BB-D8071CF6012F}"/>
              </a:ext>
            </a:extLst>
          </p:cNvPr>
          <p:cNvGrpSpPr/>
          <p:nvPr/>
        </p:nvGrpSpPr>
        <p:grpSpPr>
          <a:xfrm>
            <a:off x="4132470" y="304440"/>
            <a:ext cx="292320" cy="1212480"/>
            <a:chOff x="4132470" y="304440"/>
            <a:chExt cx="292320" cy="1212480"/>
          </a:xfrm>
        </p:grpSpPr>
        <mc:AlternateContent xmlns:mc="http://schemas.openxmlformats.org/markup-compatibility/2006" xmlns:p14="http://schemas.microsoft.com/office/powerpoint/2010/main">
          <mc:Choice Requires="p14">
            <p:contentPart p14:bwMode="auto" r:id="rId27">
              <p14:nvContentPartPr>
                <p14:cNvPr id="28" name="Ink 27">
                  <a:extLst>
                    <a:ext uri="{FF2B5EF4-FFF2-40B4-BE49-F238E27FC236}">
                      <a16:creationId xmlns:a16="http://schemas.microsoft.com/office/drawing/2014/main" id="{4AA20A3F-250D-9422-F9BF-DD6730782457}"/>
                    </a:ext>
                  </a:extLst>
                </p14:cNvPr>
                <p14:cNvContentPartPr/>
                <p14:nvPr/>
              </p14:nvContentPartPr>
              <p14:xfrm>
                <a:off x="4132470" y="304440"/>
                <a:ext cx="292320" cy="1167120"/>
              </p14:xfrm>
            </p:contentPart>
          </mc:Choice>
          <mc:Fallback xmlns="">
            <p:pic>
              <p:nvPicPr>
                <p:cNvPr id="28" name="Ink 27">
                  <a:extLst>
                    <a:ext uri="{FF2B5EF4-FFF2-40B4-BE49-F238E27FC236}">
                      <a16:creationId xmlns:a16="http://schemas.microsoft.com/office/drawing/2014/main" id="{4AA20A3F-250D-9422-F9BF-DD6730782457}"/>
                    </a:ext>
                  </a:extLst>
                </p:cNvPr>
                <p:cNvPicPr/>
                <p:nvPr/>
              </p:nvPicPr>
              <p:blipFill>
                <a:blip r:embed="rId28"/>
                <a:stretch>
                  <a:fillRect/>
                </a:stretch>
              </p:blipFill>
              <p:spPr>
                <a:xfrm>
                  <a:off x="4126350" y="298320"/>
                  <a:ext cx="304560" cy="117936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9" name="Ink 28">
                  <a:extLst>
                    <a:ext uri="{FF2B5EF4-FFF2-40B4-BE49-F238E27FC236}">
                      <a16:creationId xmlns:a16="http://schemas.microsoft.com/office/drawing/2014/main" id="{DEF5A78A-313B-67CC-291C-3764BB99A357}"/>
                    </a:ext>
                  </a:extLst>
                </p14:cNvPr>
                <p14:cNvContentPartPr/>
                <p14:nvPr/>
              </p14:nvContentPartPr>
              <p14:xfrm>
                <a:off x="4321830" y="1457160"/>
                <a:ext cx="78480" cy="59760"/>
              </p14:xfrm>
            </p:contentPart>
          </mc:Choice>
          <mc:Fallback xmlns="">
            <p:pic>
              <p:nvPicPr>
                <p:cNvPr id="29" name="Ink 28">
                  <a:extLst>
                    <a:ext uri="{FF2B5EF4-FFF2-40B4-BE49-F238E27FC236}">
                      <a16:creationId xmlns:a16="http://schemas.microsoft.com/office/drawing/2014/main" id="{DEF5A78A-313B-67CC-291C-3764BB99A357}"/>
                    </a:ext>
                  </a:extLst>
                </p:cNvPr>
                <p:cNvPicPr/>
                <p:nvPr/>
              </p:nvPicPr>
              <p:blipFill>
                <a:blip r:embed="rId30"/>
                <a:stretch>
                  <a:fillRect/>
                </a:stretch>
              </p:blipFill>
              <p:spPr>
                <a:xfrm>
                  <a:off x="4315710" y="1451040"/>
                  <a:ext cx="90720" cy="72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1">
            <p14:nvContentPartPr>
              <p14:cNvPr id="10" name="Ink 9">
                <a:extLst>
                  <a:ext uri="{FF2B5EF4-FFF2-40B4-BE49-F238E27FC236}">
                    <a16:creationId xmlns:a16="http://schemas.microsoft.com/office/drawing/2014/main" id="{84671A39-4A2C-E02B-EA47-5A034FC61C18}"/>
                  </a:ext>
                </a:extLst>
              </p14:cNvPr>
              <p14:cNvContentPartPr/>
              <p14:nvPr/>
            </p14:nvContentPartPr>
            <p14:xfrm>
              <a:off x="12083350" y="2929684"/>
              <a:ext cx="4320" cy="360"/>
            </p14:xfrm>
          </p:contentPart>
        </mc:Choice>
        <mc:Fallback>
          <p:pic>
            <p:nvPicPr>
              <p:cNvPr id="10" name="Ink 9">
                <a:extLst>
                  <a:ext uri="{FF2B5EF4-FFF2-40B4-BE49-F238E27FC236}">
                    <a16:creationId xmlns:a16="http://schemas.microsoft.com/office/drawing/2014/main" id="{84671A39-4A2C-E02B-EA47-5A034FC61C18}"/>
                  </a:ext>
                </a:extLst>
              </p:cNvPr>
              <p:cNvPicPr/>
              <p:nvPr/>
            </p:nvPicPr>
            <p:blipFill>
              <a:blip r:embed="rId32"/>
              <a:stretch>
                <a:fillRect/>
              </a:stretch>
            </p:blipFill>
            <p:spPr>
              <a:xfrm>
                <a:off x="12079030" y="2925364"/>
                <a:ext cx="12960" cy="9000"/>
              </a:xfrm>
              <a:prstGeom prst="rect">
                <a:avLst/>
              </a:prstGeom>
            </p:spPr>
          </p:pic>
        </mc:Fallback>
      </mc:AlternateContent>
      <p:grpSp>
        <p:nvGrpSpPr>
          <p:cNvPr id="33" name="Group 32">
            <a:extLst>
              <a:ext uri="{FF2B5EF4-FFF2-40B4-BE49-F238E27FC236}">
                <a16:creationId xmlns:a16="http://schemas.microsoft.com/office/drawing/2014/main" id="{57312B5B-5585-2DE8-0006-AE53BFCD692A}"/>
              </a:ext>
            </a:extLst>
          </p:cNvPr>
          <p:cNvGrpSpPr/>
          <p:nvPr/>
        </p:nvGrpSpPr>
        <p:grpSpPr>
          <a:xfrm>
            <a:off x="12063910" y="2723404"/>
            <a:ext cx="933480" cy="235440"/>
            <a:chOff x="12063910" y="2723404"/>
            <a:chExt cx="933480" cy="235440"/>
          </a:xfrm>
        </p:grpSpPr>
        <mc:AlternateContent xmlns:mc="http://schemas.openxmlformats.org/markup-compatibility/2006">
          <mc:Choice xmlns:p14="http://schemas.microsoft.com/office/powerpoint/2010/main" Requires="p14">
            <p:contentPart p14:bwMode="auto" r:id="rId33">
              <p14:nvContentPartPr>
                <p14:cNvPr id="11" name="Ink 10">
                  <a:extLst>
                    <a:ext uri="{FF2B5EF4-FFF2-40B4-BE49-F238E27FC236}">
                      <a16:creationId xmlns:a16="http://schemas.microsoft.com/office/drawing/2014/main" id="{A9BB952F-1E13-005D-9976-8B25AD5FA356}"/>
                    </a:ext>
                  </a:extLst>
                </p14:cNvPr>
                <p14:cNvContentPartPr/>
                <p14:nvPr/>
              </p14:nvContentPartPr>
              <p14:xfrm>
                <a:off x="12063910" y="2745364"/>
                <a:ext cx="207360" cy="213480"/>
              </p14:xfrm>
            </p:contentPart>
          </mc:Choice>
          <mc:Fallback>
            <p:pic>
              <p:nvPicPr>
                <p:cNvPr id="11" name="Ink 10">
                  <a:extLst>
                    <a:ext uri="{FF2B5EF4-FFF2-40B4-BE49-F238E27FC236}">
                      <a16:creationId xmlns:a16="http://schemas.microsoft.com/office/drawing/2014/main" id="{A9BB952F-1E13-005D-9976-8B25AD5FA356}"/>
                    </a:ext>
                  </a:extLst>
                </p:cNvPr>
                <p:cNvPicPr/>
                <p:nvPr/>
              </p:nvPicPr>
              <p:blipFill>
                <a:blip r:embed="rId34"/>
                <a:stretch>
                  <a:fillRect/>
                </a:stretch>
              </p:blipFill>
              <p:spPr>
                <a:xfrm>
                  <a:off x="12059590" y="2741044"/>
                  <a:ext cx="216000" cy="222120"/>
                </a:xfrm>
                <a:prstGeom prst="rect">
                  <a:avLst/>
                </a:prstGeom>
              </p:spPr>
            </p:pic>
          </mc:Fallback>
        </mc:AlternateContent>
        <mc:AlternateContent xmlns:mc="http://schemas.openxmlformats.org/markup-compatibility/2006">
          <mc:Choice xmlns:p14="http://schemas.microsoft.com/office/powerpoint/2010/main" Requires="p14">
            <p:contentPart p14:bwMode="auto" r:id="rId35">
              <p14:nvContentPartPr>
                <p14:cNvPr id="13" name="Ink 12">
                  <a:extLst>
                    <a:ext uri="{FF2B5EF4-FFF2-40B4-BE49-F238E27FC236}">
                      <a16:creationId xmlns:a16="http://schemas.microsoft.com/office/drawing/2014/main" id="{19B086B2-6275-80DA-88DD-F94DE194DE0B}"/>
                    </a:ext>
                  </a:extLst>
                </p14:cNvPr>
                <p14:cNvContentPartPr/>
                <p14:nvPr/>
              </p14:nvContentPartPr>
              <p14:xfrm>
                <a:off x="12408070" y="2752924"/>
                <a:ext cx="9360" cy="177120"/>
              </p14:xfrm>
            </p:contentPart>
          </mc:Choice>
          <mc:Fallback>
            <p:pic>
              <p:nvPicPr>
                <p:cNvPr id="13" name="Ink 12">
                  <a:extLst>
                    <a:ext uri="{FF2B5EF4-FFF2-40B4-BE49-F238E27FC236}">
                      <a16:creationId xmlns:a16="http://schemas.microsoft.com/office/drawing/2014/main" id="{19B086B2-6275-80DA-88DD-F94DE194DE0B}"/>
                    </a:ext>
                  </a:extLst>
                </p:cNvPr>
                <p:cNvPicPr/>
                <p:nvPr/>
              </p:nvPicPr>
              <p:blipFill>
                <a:blip r:embed="rId36"/>
                <a:stretch>
                  <a:fillRect/>
                </a:stretch>
              </p:blipFill>
              <p:spPr>
                <a:xfrm>
                  <a:off x="12403750" y="2748604"/>
                  <a:ext cx="18000" cy="185760"/>
                </a:xfrm>
                <a:prstGeom prst="rect">
                  <a:avLst/>
                </a:prstGeom>
              </p:spPr>
            </p:pic>
          </mc:Fallback>
        </mc:AlternateContent>
        <mc:AlternateContent xmlns:mc="http://schemas.openxmlformats.org/markup-compatibility/2006">
          <mc:Choice xmlns:p14="http://schemas.microsoft.com/office/powerpoint/2010/main" Requires="p14">
            <p:contentPart p14:bwMode="auto" r:id="rId37">
              <p14:nvContentPartPr>
                <p14:cNvPr id="14" name="Ink 13">
                  <a:extLst>
                    <a:ext uri="{FF2B5EF4-FFF2-40B4-BE49-F238E27FC236}">
                      <a16:creationId xmlns:a16="http://schemas.microsoft.com/office/drawing/2014/main" id="{1F267CAB-D637-0A78-6F94-E2A7DA81A531}"/>
                    </a:ext>
                  </a:extLst>
                </p14:cNvPr>
                <p14:cNvContentPartPr/>
                <p14:nvPr/>
              </p14:nvContentPartPr>
              <p14:xfrm>
                <a:off x="12349390" y="2773084"/>
                <a:ext cx="98640" cy="29160"/>
              </p14:xfrm>
            </p:contentPart>
          </mc:Choice>
          <mc:Fallback>
            <p:pic>
              <p:nvPicPr>
                <p:cNvPr id="14" name="Ink 13">
                  <a:extLst>
                    <a:ext uri="{FF2B5EF4-FFF2-40B4-BE49-F238E27FC236}">
                      <a16:creationId xmlns:a16="http://schemas.microsoft.com/office/drawing/2014/main" id="{1F267CAB-D637-0A78-6F94-E2A7DA81A531}"/>
                    </a:ext>
                  </a:extLst>
                </p:cNvPr>
                <p:cNvPicPr/>
                <p:nvPr/>
              </p:nvPicPr>
              <p:blipFill>
                <a:blip r:embed="rId38"/>
                <a:stretch>
                  <a:fillRect/>
                </a:stretch>
              </p:blipFill>
              <p:spPr>
                <a:xfrm>
                  <a:off x="12345070" y="2768764"/>
                  <a:ext cx="107280" cy="37800"/>
                </a:xfrm>
                <a:prstGeom prst="rect">
                  <a:avLst/>
                </a:prstGeom>
              </p:spPr>
            </p:pic>
          </mc:Fallback>
        </mc:AlternateContent>
        <mc:AlternateContent xmlns:mc="http://schemas.openxmlformats.org/markup-compatibility/2006">
          <mc:Choice xmlns:p14="http://schemas.microsoft.com/office/powerpoint/2010/main" Requires="p14">
            <p:contentPart p14:bwMode="auto" r:id="rId39">
              <p14:nvContentPartPr>
                <p14:cNvPr id="23" name="Ink 22">
                  <a:extLst>
                    <a:ext uri="{FF2B5EF4-FFF2-40B4-BE49-F238E27FC236}">
                      <a16:creationId xmlns:a16="http://schemas.microsoft.com/office/drawing/2014/main" id="{3162F336-43A9-4879-0E7F-7952864BC288}"/>
                    </a:ext>
                  </a:extLst>
                </p14:cNvPr>
                <p14:cNvContentPartPr/>
                <p14:nvPr/>
              </p14:nvContentPartPr>
              <p14:xfrm>
                <a:off x="12565750" y="2752924"/>
                <a:ext cx="141840" cy="193320"/>
              </p14:xfrm>
            </p:contentPart>
          </mc:Choice>
          <mc:Fallback>
            <p:pic>
              <p:nvPicPr>
                <p:cNvPr id="23" name="Ink 22">
                  <a:extLst>
                    <a:ext uri="{FF2B5EF4-FFF2-40B4-BE49-F238E27FC236}">
                      <a16:creationId xmlns:a16="http://schemas.microsoft.com/office/drawing/2014/main" id="{3162F336-43A9-4879-0E7F-7952864BC288}"/>
                    </a:ext>
                  </a:extLst>
                </p:cNvPr>
                <p:cNvPicPr/>
                <p:nvPr/>
              </p:nvPicPr>
              <p:blipFill>
                <a:blip r:embed="rId40"/>
                <a:stretch>
                  <a:fillRect/>
                </a:stretch>
              </p:blipFill>
              <p:spPr>
                <a:xfrm>
                  <a:off x="12561430" y="2748604"/>
                  <a:ext cx="150480" cy="201960"/>
                </a:xfrm>
                <a:prstGeom prst="rect">
                  <a:avLst/>
                </a:prstGeom>
              </p:spPr>
            </p:pic>
          </mc:Fallback>
        </mc:AlternateContent>
        <mc:AlternateContent xmlns:mc="http://schemas.openxmlformats.org/markup-compatibility/2006">
          <mc:Choice xmlns:p14="http://schemas.microsoft.com/office/powerpoint/2010/main" Requires="p14">
            <p:contentPart p14:bwMode="auto" r:id="rId41">
              <p14:nvContentPartPr>
                <p14:cNvPr id="24" name="Ink 23">
                  <a:extLst>
                    <a:ext uri="{FF2B5EF4-FFF2-40B4-BE49-F238E27FC236}">
                      <a16:creationId xmlns:a16="http://schemas.microsoft.com/office/drawing/2014/main" id="{4FEBEB6E-6BFF-E53C-357F-923A1157A29F}"/>
                    </a:ext>
                  </a:extLst>
                </p14:cNvPr>
                <p14:cNvContentPartPr/>
                <p14:nvPr/>
              </p14:nvContentPartPr>
              <p14:xfrm>
                <a:off x="12604630" y="2732764"/>
                <a:ext cx="129600" cy="39600"/>
              </p14:xfrm>
            </p:contentPart>
          </mc:Choice>
          <mc:Fallback>
            <p:pic>
              <p:nvPicPr>
                <p:cNvPr id="24" name="Ink 23">
                  <a:extLst>
                    <a:ext uri="{FF2B5EF4-FFF2-40B4-BE49-F238E27FC236}">
                      <a16:creationId xmlns:a16="http://schemas.microsoft.com/office/drawing/2014/main" id="{4FEBEB6E-6BFF-E53C-357F-923A1157A29F}"/>
                    </a:ext>
                  </a:extLst>
                </p:cNvPr>
                <p:cNvPicPr/>
                <p:nvPr/>
              </p:nvPicPr>
              <p:blipFill>
                <a:blip r:embed="rId42"/>
                <a:stretch>
                  <a:fillRect/>
                </a:stretch>
              </p:blipFill>
              <p:spPr>
                <a:xfrm>
                  <a:off x="12600310" y="2728444"/>
                  <a:ext cx="138240" cy="48240"/>
                </a:xfrm>
                <a:prstGeom prst="rect">
                  <a:avLst/>
                </a:prstGeom>
              </p:spPr>
            </p:pic>
          </mc:Fallback>
        </mc:AlternateContent>
        <mc:AlternateContent xmlns:mc="http://schemas.openxmlformats.org/markup-compatibility/2006">
          <mc:Choice xmlns:p14="http://schemas.microsoft.com/office/powerpoint/2010/main" Requires="p14">
            <p:contentPart p14:bwMode="auto" r:id="rId43">
              <p14:nvContentPartPr>
                <p14:cNvPr id="26" name="Ink 25">
                  <a:extLst>
                    <a:ext uri="{FF2B5EF4-FFF2-40B4-BE49-F238E27FC236}">
                      <a16:creationId xmlns:a16="http://schemas.microsoft.com/office/drawing/2014/main" id="{DC495E28-219B-1407-E3AD-D109AA6BB4AE}"/>
                    </a:ext>
                  </a:extLst>
                </p14:cNvPr>
                <p14:cNvContentPartPr/>
                <p14:nvPr/>
              </p14:nvContentPartPr>
              <p14:xfrm>
                <a:off x="12585190" y="2811604"/>
                <a:ext cx="156240" cy="30240"/>
              </p14:xfrm>
            </p:contentPart>
          </mc:Choice>
          <mc:Fallback>
            <p:pic>
              <p:nvPicPr>
                <p:cNvPr id="26" name="Ink 25">
                  <a:extLst>
                    <a:ext uri="{FF2B5EF4-FFF2-40B4-BE49-F238E27FC236}">
                      <a16:creationId xmlns:a16="http://schemas.microsoft.com/office/drawing/2014/main" id="{DC495E28-219B-1407-E3AD-D109AA6BB4AE}"/>
                    </a:ext>
                  </a:extLst>
                </p:cNvPr>
                <p:cNvPicPr/>
                <p:nvPr/>
              </p:nvPicPr>
              <p:blipFill>
                <a:blip r:embed="rId44"/>
                <a:stretch>
                  <a:fillRect/>
                </a:stretch>
              </p:blipFill>
              <p:spPr>
                <a:xfrm>
                  <a:off x="12580870" y="2807284"/>
                  <a:ext cx="164880" cy="38880"/>
                </a:xfrm>
                <a:prstGeom prst="rect">
                  <a:avLst/>
                </a:prstGeom>
              </p:spPr>
            </p:pic>
          </mc:Fallback>
        </mc:AlternateContent>
        <mc:AlternateContent xmlns:mc="http://schemas.openxmlformats.org/markup-compatibility/2006">
          <mc:Choice xmlns:p14="http://schemas.microsoft.com/office/powerpoint/2010/main" Requires="p14">
            <p:contentPart p14:bwMode="auto" r:id="rId45">
              <p14:nvContentPartPr>
                <p14:cNvPr id="27" name="Ink 26">
                  <a:extLst>
                    <a:ext uri="{FF2B5EF4-FFF2-40B4-BE49-F238E27FC236}">
                      <a16:creationId xmlns:a16="http://schemas.microsoft.com/office/drawing/2014/main" id="{AB86E13A-17BA-D8F3-AF75-12CA5F94BF0E}"/>
                    </a:ext>
                  </a:extLst>
                </p14:cNvPr>
                <p14:cNvContentPartPr/>
                <p14:nvPr/>
              </p14:nvContentPartPr>
              <p14:xfrm>
                <a:off x="12820990" y="2723404"/>
                <a:ext cx="360" cy="360"/>
              </p14:xfrm>
            </p:contentPart>
          </mc:Choice>
          <mc:Fallback>
            <p:pic>
              <p:nvPicPr>
                <p:cNvPr id="27" name="Ink 26">
                  <a:extLst>
                    <a:ext uri="{FF2B5EF4-FFF2-40B4-BE49-F238E27FC236}">
                      <a16:creationId xmlns:a16="http://schemas.microsoft.com/office/drawing/2014/main" id="{AB86E13A-17BA-D8F3-AF75-12CA5F94BF0E}"/>
                    </a:ext>
                  </a:extLst>
                </p:cNvPr>
                <p:cNvPicPr/>
                <p:nvPr/>
              </p:nvPicPr>
              <p:blipFill>
                <a:blip r:embed="rId46"/>
                <a:stretch>
                  <a:fillRect/>
                </a:stretch>
              </p:blipFill>
              <p:spPr>
                <a:xfrm>
                  <a:off x="12816670" y="2719084"/>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47">
              <p14:nvContentPartPr>
                <p14:cNvPr id="32" name="Ink 31">
                  <a:extLst>
                    <a:ext uri="{FF2B5EF4-FFF2-40B4-BE49-F238E27FC236}">
                      <a16:creationId xmlns:a16="http://schemas.microsoft.com/office/drawing/2014/main" id="{FEC6C22F-3193-767A-4F11-6662CB2F58AC}"/>
                    </a:ext>
                  </a:extLst>
                </p14:cNvPr>
                <p14:cNvContentPartPr/>
                <p14:nvPr/>
              </p14:nvContentPartPr>
              <p14:xfrm>
                <a:off x="12856630" y="2742844"/>
                <a:ext cx="140760" cy="178560"/>
              </p14:xfrm>
            </p:contentPart>
          </mc:Choice>
          <mc:Fallback>
            <p:pic>
              <p:nvPicPr>
                <p:cNvPr id="32" name="Ink 31">
                  <a:extLst>
                    <a:ext uri="{FF2B5EF4-FFF2-40B4-BE49-F238E27FC236}">
                      <a16:creationId xmlns:a16="http://schemas.microsoft.com/office/drawing/2014/main" id="{FEC6C22F-3193-767A-4F11-6662CB2F58AC}"/>
                    </a:ext>
                  </a:extLst>
                </p:cNvPr>
                <p:cNvPicPr/>
                <p:nvPr/>
              </p:nvPicPr>
              <p:blipFill>
                <a:blip r:embed="rId48"/>
                <a:stretch>
                  <a:fillRect/>
                </a:stretch>
              </p:blipFill>
              <p:spPr>
                <a:xfrm>
                  <a:off x="12852310" y="2738524"/>
                  <a:ext cx="149400" cy="1872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49">
            <p14:nvContentPartPr>
              <p14:cNvPr id="34" name="Ink 33">
                <a:extLst>
                  <a:ext uri="{FF2B5EF4-FFF2-40B4-BE49-F238E27FC236}">
                    <a16:creationId xmlns:a16="http://schemas.microsoft.com/office/drawing/2014/main" id="{7F41A2BA-4971-2DB2-426B-8DA50FF2DD5B}"/>
                  </a:ext>
                </a:extLst>
              </p14:cNvPr>
              <p14:cNvContentPartPr/>
              <p14:nvPr/>
            </p14:nvContentPartPr>
            <p14:xfrm>
              <a:off x="12113230" y="3038044"/>
              <a:ext cx="360" cy="156600"/>
            </p14:xfrm>
          </p:contentPart>
        </mc:Choice>
        <mc:Fallback>
          <p:pic>
            <p:nvPicPr>
              <p:cNvPr id="34" name="Ink 33">
                <a:extLst>
                  <a:ext uri="{FF2B5EF4-FFF2-40B4-BE49-F238E27FC236}">
                    <a16:creationId xmlns:a16="http://schemas.microsoft.com/office/drawing/2014/main" id="{7F41A2BA-4971-2DB2-426B-8DA50FF2DD5B}"/>
                  </a:ext>
                </a:extLst>
              </p:cNvPr>
              <p:cNvPicPr/>
              <p:nvPr/>
            </p:nvPicPr>
            <p:blipFill>
              <a:blip r:embed="rId50"/>
              <a:stretch>
                <a:fillRect/>
              </a:stretch>
            </p:blipFill>
            <p:spPr>
              <a:xfrm>
                <a:off x="12108910" y="3033724"/>
                <a:ext cx="9000" cy="165240"/>
              </a:xfrm>
              <a:prstGeom prst="rect">
                <a:avLst/>
              </a:prstGeom>
            </p:spPr>
          </p:pic>
        </mc:Fallback>
      </mc:AlternateContent>
      <mc:AlternateContent xmlns:mc="http://schemas.openxmlformats.org/markup-compatibility/2006">
        <mc:Choice xmlns:p14="http://schemas.microsoft.com/office/powerpoint/2010/main" Requires="p14">
          <p:contentPart p14:bwMode="auto" r:id="rId51">
            <p14:nvContentPartPr>
              <p14:cNvPr id="35" name="Ink 34">
                <a:extLst>
                  <a:ext uri="{FF2B5EF4-FFF2-40B4-BE49-F238E27FC236}">
                    <a16:creationId xmlns:a16="http://schemas.microsoft.com/office/drawing/2014/main" id="{6C161E49-3FC5-75C6-0F96-646D26A87851}"/>
                  </a:ext>
                </a:extLst>
              </p14:cNvPr>
              <p14:cNvContentPartPr/>
              <p14:nvPr/>
            </p14:nvContentPartPr>
            <p14:xfrm>
              <a:off x="12241030" y="3057484"/>
              <a:ext cx="360" cy="156960"/>
            </p14:xfrm>
          </p:contentPart>
        </mc:Choice>
        <mc:Fallback>
          <p:pic>
            <p:nvPicPr>
              <p:cNvPr id="35" name="Ink 34">
                <a:extLst>
                  <a:ext uri="{FF2B5EF4-FFF2-40B4-BE49-F238E27FC236}">
                    <a16:creationId xmlns:a16="http://schemas.microsoft.com/office/drawing/2014/main" id="{6C161E49-3FC5-75C6-0F96-646D26A87851}"/>
                  </a:ext>
                </a:extLst>
              </p:cNvPr>
              <p:cNvPicPr/>
              <p:nvPr/>
            </p:nvPicPr>
            <p:blipFill>
              <a:blip r:embed="rId52"/>
              <a:stretch>
                <a:fillRect/>
              </a:stretch>
            </p:blipFill>
            <p:spPr>
              <a:xfrm>
                <a:off x="12236710" y="3053164"/>
                <a:ext cx="9000" cy="165600"/>
              </a:xfrm>
              <a:prstGeom prst="rect">
                <a:avLst/>
              </a:prstGeom>
            </p:spPr>
          </p:pic>
        </mc:Fallback>
      </mc:AlternateContent>
      <mc:AlternateContent xmlns:mc="http://schemas.openxmlformats.org/markup-compatibility/2006">
        <mc:Choice xmlns:p14="http://schemas.microsoft.com/office/powerpoint/2010/main" Requires="p14">
          <p:contentPart p14:bwMode="auto" r:id="rId53">
            <p14:nvContentPartPr>
              <p14:cNvPr id="36" name="Ink 35">
                <a:extLst>
                  <a:ext uri="{FF2B5EF4-FFF2-40B4-BE49-F238E27FC236}">
                    <a16:creationId xmlns:a16="http://schemas.microsoft.com/office/drawing/2014/main" id="{70339A24-1FC6-8818-80AB-1EF193766F5F}"/>
                  </a:ext>
                </a:extLst>
              </p14:cNvPr>
              <p14:cNvContentPartPr/>
              <p14:nvPr/>
            </p14:nvContentPartPr>
            <p14:xfrm>
              <a:off x="12122950" y="3115804"/>
              <a:ext cx="132480" cy="20880"/>
            </p14:xfrm>
          </p:contentPart>
        </mc:Choice>
        <mc:Fallback>
          <p:pic>
            <p:nvPicPr>
              <p:cNvPr id="36" name="Ink 35">
                <a:extLst>
                  <a:ext uri="{FF2B5EF4-FFF2-40B4-BE49-F238E27FC236}">
                    <a16:creationId xmlns:a16="http://schemas.microsoft.com/office/drawing/2014/main" id="{70339A24-1FC6-8818-80AB-1EF193766F5F}"/>
                  </a:ext>
                </a:extLst>
              </p:cNvPr>
              <p:cNvPicPr/>
              <p:nvPr/>
            </p:nvPicPr>
            <p:blipFill>
              <a:blip r:embed="rId54"/>
              <a:stretch>
                <a:fillRect/>
              </a:stretch>
            </p:blipFill>
            <p:spPr>
              <a:xfrm>
                <a:off x="12118630" y="3111484"/>
                <a:ext cx="141120" cy="29520"/>
              </a:xfrm>
              <a:prstGeom prst="rect">
                <a:avLst/>
              </a:prstGeom>
            </p:spPr>
          </p:pic>
        </mc:Fallback>
      </mc:AlternateContent>
      <mc:AlternateContent xmlns:mc="http://schemas.openxmlformats.org/markup-compatibility/2006">
        <mc:Choice xmlns:p14="http://schemas.microsoft.com/office/powerpoint/2010/main" Requires="p14">
          <p:contentPart p14:bwMode="auto" r:id="rId55">
            <p14:nvContentPartPr>
              <p14:cNvPr id="38" name="Ink 37">
                <a:extLst>
                  <a:ext uri="{FF2B5EF4-FFF2-40B4-BE49-F238E27FC236}">
                    <a16:creationId xmlns:a16="http://schemas.microsoft.com/office/drawing/2014/main" id="{C607E7E8-B8A8-DB84-3990-8AFD21A45622}"/>
                  </a:ext>
                </a:extLst>
              </p14:cNvPr>
              <p14:cNvContentPartPr/>
              <p14:nvPr/>
            </p14:nvContentPartPr>
            <p14:xfrm>
              <a:off x="12309790" y="3050644"/>
              <a:ext cx="156240" cy="174600"/>
            </p14:xfrm>
          </p:contentPart>
        </mc:Choice>
        <mc:Fallback>
          <p:pic>
            <p:nvPicPr>
              <p:cNvPr id="38" name="Ink 37">
                <a:extLst>
                  <a:ext uri="{FF2B5EF4-FFF2-40B4-BE49-F238E27FC236}">
                    <a16:creationId xmlns:a16="http://schemas.microsoft.com/office/drawing/2014/main" id="{C607E7E8-B8A8-DB84-3990-8AFD21A45622}"/>
                  </a:ext>
                </a:extLst>
              </p:cNvPr>
              <p:cNvPicPr/>
              <p:nvPr/>
            </p:nvPicPr>
            <p:blipFill>
              <a:blip r:embed="rId56"/>
              <a:stretch>
                <a:fillRect/>
              </a:stretch>
            </p:blipFill>
            <p:spPr>
              <a:xfrm>
                <a:off x="12305470" y="3046324"/>
                <a:ext cx="164880" cy="183240"/>
              </a:xfrm>
              <a:prstGeom prst="rect">
                <a:avLst/>
              </a:prstGeom>
            </p:spPr>
          </p:pic>
        </mc:Fallback>
      </mc:AlternateContent>
      <mc:AlternateContent xmlns:mc="http://schemas.openxmlformats.org/markup-compatibility/2006">
        <mc:Choice xmlns:p14="http://schemas.microsoft.com/office/powerpoint/2010/main" Requires="p14">
          <p:contentPart p14:bwMode="auto" r:id="rId57">
            <p14:nvContentPartPr>
              <p14:cNvPr id="39" name="Ink 38">
                <a:extLst>
                  <a:ext uri="{FF2B5EF4-FFF2-40B4-BE49-F238E27FC236}">
                    <a16:creationId xmlns:a16="http://schemas.microsoft.com/office/drawing/2014/main" id="{A2C87A75-0A91-98D4-6218-26375E759B9E}"/>
                  </a:ext>
                </a:extLst>
              </p14:cNvPr>
              <p14:cNvContentPartPr/>
              <p14:nvPr/>
            </p14:nvContentPartPr>
            <p14:xfrm>
              <a:off x="12367750" y="3155764"/>
              <a:ext cx="76320" cy="10440"/>
            </p14:xfrm>
          </p:contentPart>
        </mc:Choice>
        <mc:Fallback>
          <p:pic>
            <p:nvPicPr>
              <p:cNvPr id="39" name="Ink 38">
                <a:extLst>
                  <a:ext uri="{FF2B5EF4-FFF2-40B4-BE49-F238E27FC236}">
                    <a16:creationId xmlns:a16="http://schemas.microsoft.com/office/drawing/2014/main" id="{A2C87A75-0A91-98D4-6218-26375E759B9E}"/>
                  </a:ext>
                </a:extLst>
              </p:cNvPr>
              <p:cNvPicPr/>
              <p:nvPr/>
            </p:nvPicPr>
            <p:blipFill>
              <a:blip r:embed="rId58"/>
              <a:stretch>
                <a:fillRect/>
              </a:stretch>
            </p:blipFill>
            <p:spPr>
              <a:xfrm>
                <a:off x="12363430" y="3151444"/>
                <a:ext cx="84960" cy="19080"/>
              </a:xfrm>
              <a:prstGeom prst="rect">
                <a:avLst/>
              </a:prstGeom>
            </p:spPr>
          </p:pic>
        </mc:Fallback>
      </mc:AlternateContent>
      <p:grpSp>
        <p:nvGrpSpPr>
          <p:cNvPr id="54" name="Group 53">
            <a:extLst>
              <a:ext uri="{FF2B5EF4-FFF2-40B4-BE49-F238E27FC236}">
                <a16:creationId xmlns:a16="http://schemas.microsoft.com/office/drawing/2014/main" id="{555316FE-26EA-217D-943F-AF72C44F7E21}"/>
              </a:ext>
            </a:extLst>
          </p:cNvPr>
          <p:cNvGrpSpPr/>
          <p:nvPr/>
        </p:nvGrpSpPr>
        <p:grpSpPr>
          <a:xfrm>
            <a:off x="12563950" y="3029044"/>
            <a:ext cx="474120" cy="226440"/>
            <a:chOff x="12563950" y="3029044"/>
            <a:chExt cx="474120" cy="226440"/>
          </a:xfrm>
        </p:grpSpPr>
        <mc:AlternateContent xmlns:mc="http://schemas.openxmlformats.org/markup-compatibility/2006">
          <mc:Choice xmlns:p14="http://schemas.microsoft.com/office/powerpoint/2010/main" Requires="p14">
            <p:contentPart p14:bwMode="auto" r:id="rId59">
              <p14:nvContentPartPr>
                <p14:cNvPr id="41" name="Ink 40">
                  <a:extLst>
                    <a:ext uri="{FF2B5EF4-FFF2-40B4-BE49-F238E27FC236}">
                      <a16:creationId xmlns:a16="http://schemas.microsoft.com/office/drawing/2014/main" id="{D490F81C-B482-F48A-98BC-5682339C99B8}"/>
                    </a:ext>
                  </a:extLst>
                </p14:cNvPr>
                <p14:cNvContentPartPr/>
                <p14:nvPr/>
              </p14:nvContentPartPr>
              <p14:xfrm>
                <a:off x="12563950" y="3094924"/>
                <a:ext cx="136440" cy="160560"/>
              </p14:xfrm>
            </p:contentPart>
          </mc:Choice>
          <mc:Fallback>
            <p:pic>
              <p:nvPicPr>
                <p:cNvPr id="41" name="Ink 40">
                  <a:extLst>
                    <a:ext uri="{FF2B5EF4-FFF2-40B4-BE49-F238E27FC236}">
                      <a16:creationId xmlns:a16="http://schemas.microsoft.com/office/drawing/2014/main" id="{D490F81C-B482-F48A-98BC-5682339C99B8}"/>
                    </a:ext>
                  </a:extLst>
                </p:cNvPr>
                <p:cNvPicPr/>
                <p:nvPr/>
              </p:nvPicPr>
              <p:blipFill>
                <a:blip r:embed="rId60"/>
                <a:stretch>
                  <a:fillRect/>
                </a:stretch>
              </p:blipFill>
              <p:spPr>
                <a:xfrm>
                  <a:off x="12559630" y="3090604"/>
                  <a:ext cx="145080" cy="169200"/>
                </a:xfrm>
                <a:prstGeom prst="rect">
                  <a:avLst/>
                </a:prstGeom>
              </p:spPr>
            </p:pic>
          </mc:Fallback>
        </mc:AlternateContent>
        <mc:AlternateContent xmlns:mc="http://schemas.openxmlformats.org/markup-compatibility/2006">
          <mc:Choice xmlns:p14="http://schemas.microsoft.com/office/powerpoint/2010/main" Requires="p14">
            <p:contentPart p14:bwMode="auto" r:id="rId61">
              <p14:nvContentPartPr>
                <p14:cNvPr id="42" name="Ink 41">
                  <a:extLst>
                    <a:ext uri="{FF2B5EF4-FFF2-40B4-BE49-F238E27FC236}">
                      <a16:creationId xmlns:a16="http://schemas.microsoft.com/office/drawing/2014/main" id="{DCF56DE3-78A1-F363-DF4F-96C9D8D2BFDE}"/>
                    </a:ext>
                  </a:extLst>
                </p14:cNvPr>
                <p14:cNvContentPartPr/>
                <p14:nvPr/>
              </p14:nvContentPartPr>
              <p14:xfrm>
                <a:off x="12781750" y="3087364"/>
                <a:ext cx="20880" cy="126720"/>
              </p14:xfrm>
            </p:contentPart>
          </mc:Choice>
          <mc:Fallback>
            <p:pic>
              <p:nvPicPr>
                <p:cNvPr id="42" name="Ink 41">
                  <a:extLst>
                    <a:ext uri="{FF2B5EF4-FFF2-40B4-BE49-F238E27FC236}">
                      <a16:creationId xmlns:a16="http://schemas.microsoft.com/office/drawing/2014/main" id="{DCF56DE3-78A1-F363-DF4F-96C9D8D2BFDE}"/>
                    </a:ext>
                  </a:extLst>
                </p:cNvPr>
                <p:cNvPicPr/>
                <p:nvPr/>
              </p:nvPicPr>
              <p:blipFill>
                <a:blip r:embed="rId62"/>
                <a:stretch>
                  <a:fillRect/>
                </a:stretch>
              </p:blipFill>
              <p:spPr>
                <a:xfrm>
                  <a:off x="12777430" y="3083044"/>
                  <a:ext cx="29520" cy="135360"/>
                </a:xfrm>
                <a:prstGeom prst="rect">
                  <a:avLst/>
                </a:prstGeom>
              </p:spPr>
            </p:pic>
          </mc:Fallback>
        </mc:AlternateContent>
        <mc:AlternateContent xmlns:mc="http://schemas.openxmlformats.org/markup-compatibility/2006">
          <mc:Choice xmlns:p14="http://schemas.microsoft.com/office/powerpoint/2010/main" Requires="p14">
            <p:contentPart p14:bwMode="auto" r:id="rId63">
              <p14:nvContentPartPr>
                <p14:cNvPr id="44" name="Ink 43">
                  <a:extLst>
                    <a:ext uri="{FF2B5EF4-FFF2-40B4-BE49-F238E27FC236}">
                      <a16:creationId xmlns:a16="http://schemas.microsoft.com/office/drawing/2014/main" id="{7948CAA9-1572-1D86-B16C-736A21DEA47E}"/>
                    </a:ext>
                  </a:extLst>
                </p14:cNvPr>
                <p14:cNvContentPartPr/>
                <p14:nvPr/>
              </p14:nvContentPartPr>
              <p14:xfrm>
                <a:off x="12880030" y="3038044"/>
                <a:ext cx="360" cy="186120"/>
              </p14:xfrm>
            </p:contentPart>
          </mc:Choice>
          <mc:Fallback>
            <p:pic>
              <p:nvPicPr>
                <p:cNvPr id="44" name="Ink 43">
                  <a:extLst>
                    <a:ext uri="{FF2B5EF4-FFF2-40B4-BE49-F238E27FC236}">
                      <a16:creationId xmlns:a16="http://schemas.microsoft.com/office/drawing/2014/main" id="{7948CAA9-1572-1D86-B16C-736A21DEA47E}"/>
                    </a:ext>
                  </a:extLst>
                </p:cNvPr>
                <p:cNvPicPr/>
                <p:nvPr/>
              </p:nvPicPr>
              <p:blipFill>
                <a:blip r:embed="rId64"/>
                <a:stretch>
                  <a:fillRect/>
                </a:stretch>
              </p:blipFill>
              <p:spPr>
                <a:xfrm>
                  <a:off x="12875710" y="3033724"/>
                  <a:ext cx="9000" cy="194760"/>
                </a:xfrm>
                <a:prstGeom prst="rect">
                  <a:avLst/>
                </a:prstGeom>
              </p:spPr>
            </p:pic>
          </mc:Fallback>
        </mc:AlternateContent>
        <mc:AlternateContent xmlns:mc="http://schemas.openxmlformats.org/markup-compatibility/2006">
          <mc:Choice xmlns:p14="http://schemas.microsoft.com/office/powerpoint/2010/main" Requires="p14">
            <p:contentPart p14:bwMode="auto" r:id="rId65">
              <p14:nvContentPartPr>
                <p14:cNvPr id="45" name="Ink 44">
                  <a:extLst>
                    <a:ext uri="{FF2B5EF4-FFF2-40B4-BE49-F238E27FC236}">
                      <a16:creationId xmlns:a16="http://schemas.microsoft.com/office/drawing/2014/main" id="{65D0C3B7-9355-7FF2-5466-B1D02F077D36}"/>
                    </a:ext>
                  </a:extLst>
                </p14:cNvPr>
                <p14:cNvContentPartPr/>
                <p14:nvPr/>
              </p14:nvContentPartPr>
              <p14:xfrm>
                <a:off x="12781750" y="3137404"/>
                <a:ext cx="48240" cy="9360"/>
              </p14:xfrm>
            </p:contentPart>
          </mc:Choice>
          <mc:Fallback>
            <p:pic>
              <p:nvPicPr>
                <p:cNvPr id="45" name="Ink 44">
                  <a:extLst>
                    <a:ext uri="{FF2B5EF4-FFF2-40B4-BE49-F238E27FC236}">
                      <a16:creationId xmlns:a16="http://schemas.microsoft.com/office/drawing/2014/main" id="{65D0C3B7-9355-7FF2-5466-B1D02F077D36}"/>
                    </a:ext>
                  </a:extLst>
                </p:cNvPr>
                <p:cNvPicPr/>
                <p:nvPr/>
              </p:nvPicPr>
              <p:blipFill>
                <a:blip r:embed="rId66"/>
                <a:stretch>
                  <a:fillRect/>
                </a:stretch>
              </p:blipFill>
              <p:spPr>
                <a:xfrm>
                  <a:off x="12777430" y="3133084"/>
                  <a:ext cx="56880" cy="18000"/>
                </a:xfrm>
                <a:prstGeom prst="rect">
                  <a:avLst/>
                </a:prstGeom>
              </p:spPr>
            </p:pic>
          </mc:Fallback>
        </mc:AlternateContent>
        <mc:AlternateContent xmlns:mc="http://schemas.openxmlformats.org/markup-compatibility/2006">
          <mc:Choice xmlns:p14="http://schemas.microsoft.com/office/powerpoint/2010/main" Requires="p14">
            <p:contentPart p14:bwMode="auto" r:id="rId67">
              <p14:nvContentPartPr>
                <p14:cNvPr id="47" name="Ink 46">
                  <a:extLst>
                    <a:ext uri="{FF2B5EF4-FFF2-40B4-BE49-F238E27FC236}">
                      <a16:creationId xmlns:a16="http://schemas.microsoft.com/office/drawing/2014/main" id="{D55AF080-2F2D-EE97-1AB9-7222E564AC9B}"/>
                    </a:ext>
                  </a:extLst>
                </p14:cNvPr>
                <p14:cNvContentPartPr/>
                <p14:nvPr/>
              </p14:nvContentPartPr>
              <p14:xfrm>
                <a:off x="12998110" y="3116524"/>
                <a:ext cx="360" cy="137160"/>
              </p14:xfrm>
            </p:contentPart>
          </mc:Choice>
          <mc:Fallback>
            <p:pic>
              <p:nvPicPr>
                <p:cNvPr id="47" name="Ink 46">
                  <a:extLst>
                    <a:ext uri="{FF2B5EF4-FFF2-40B4-BE49-F238E27FC236}">
                      <a16:creationId xmlns:a16="http://schemas.microsoft.com/office/drawing/2014/main" id="{D55AF080-2F2D-EE97-1AB9-7222E564AC9B}"/>
                    </a:ext>
                  </a:extLst>
                </p:cNvPr>
                <p:cNvPicPr/>
                <p:nvPr/>
              </p:nvPicPr>
              <p:blipFill>
                <a:blip r:embed="rId68"/>
                <a:stretch>
                  <a:fillRect/>
                </a:stretch>
              </p:blipFill>
              <p:spPr>
                <a:xfrm>
                  <a:off x="12993790" y="3112204"/>
                  <a:ext cx="9000" cy="145800"/>
                </a:xfrm>
                <a:prstGeom prst="rect">
                  <a:avLst/>
                </a:prstGeom>
              </p:spPr>
            </p:pic>
          </mc:Fallback>
        </mc:AlternateContent>
        <mc:AlternateContent xmlns:mc="http://schemas.openxmlformats.org/markup-compatibility/2006">
          <mc:Choice xmlns:p14="http://schemas.microsoft.com/office/powerpoint/2010/main" Requires="p14">
            <p:contentPart p14:bwMode="auto" r:id="rId69">
              <p14:nvContentPartPr>
                <p14:cNvPr id="48" name="Ink 47">
                  <a:extLst>
                    <a:ext uri="{FF2B5EF4-FFF2-40B4-BE49-F238E27FC236}">
                      <a16:creationId xmlns:a16="http://schemas.microsoft.com/office/drawing/2014/main" id="{49539317-0B2E-DE40-772A-2ED17ABD8B58}"/>
                    </a:ext>
                  </a:extLst>
                </p14:cNvPr>
                <p14:cNvContentPartPr/>
                <p14:nvPr/>
              </p14:nvContentPartPr>
              <p14:xfrm>
                <a:off x="12978670" y="3057484"/>
                <a:ext cx="360" cy="360"/>
              </p14:xfrm>
            </p:contentPart>
          </mc:Choice>
          <mc:Fallback>
            <p:pic>
              <p:nvPicPr>
                <p:cNvPr id="48" name="Ink 47">
                  <a:extLst>
                    <a:ext uri="{FF2B5EF4-FFF2-40B4-BE49-F238E27FC236}">
                      <a16:creationId xmlns:a16="http://schemas.microsoft.com/office/drawing/2014/main" id="{49539317-0B2E-DE40-772A-2ED17ABD8B58}"/>
                    </a:ext>
                  </a:extLst>
                </p:cNvPr>
                <p:cNvPicPr/>
                <p:nvPr/>
              </p:nvPicPr>
              <p:blipFill>
                <a:blip r:embed="rId46"/>
                <a:stretch>
                  <a:fillRect/>
                </a:stretch>
              </p:blipFill>
              <p:spPr>
                <a:xfrm>
                  <a:off x="12974350" y="3053164"/>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70">
              <p14:nvContentPartPr>
                <p14:cNvPr id="49" name="Ink 48">
                  <a:extLst>
                    <a:ext uri="{FF2B5EF4-FFF2-40B4-BE49-F238E27FC236}">
                      <a16:creationId xmlns:a16="http://schemas.microsoft.com/office/drawing/2014/main" id="{D137FB30-825D-503E-4681-C2C6C94DB4F3}"/>
                    </a:ext>
                  </a:extLst>
                </p14:cNvPr>
                <p14:cNvContentPartPr/>
                <p14:nvPr/>
              </p14:nvContentPartPr>
              <p14:xfrm>
                <a:off x="13009990" y="3029044"/>
                <a:ext cx="28080" cy="19080"/>
              </p14:xfrm>
            </p:contentPart>
          </mc:Choice>
          <mc:Fallback>
            <p:pic>
              <p:nvPicPr>
                <p:cNvPr id="49" name="Ink 48">
                  <a:extLst>
                    <a:ext uri="{FF2B5EF4-FFF2-40B4-BE49-F238E27FC236}">
                      <a16:creationId xmlns:a16="http://schemas.microsoft.com/office/drawing/2014/main" id="{D137FB30-825D-503E-4681-C2C6C94DB4F3}"/>
                    </a:ext>
                  </a:extLst>
                </p:cNvPr>
                <p:cNvPicPr/>
                <p:nvPr/>
              </p:nvPicPr>
              <p:blipFill>
                <a:blip r:embed="rId71"/>
                <a:stretch>
                  <a:fillRect/>
                </a:stretch>
              </p:blipFill>
              <p:spPr>
                <a:xfrm>
                  <a:off x="13005670" y="3024724"/>
                  <a:ext cx="36720" cy="27720"/>
                </a:xfrm>
                <a:prstGeom prst="rect">
                  <a:avLst/>
                </a:prstGeom>
              </p:spPr>
            </p:pic>
          </mc:Fallback>
        </mc:AlternateContent>
        <mc:AlternateContent xmlns:mc="http://schemas.openxmlformats.org/markup-compatibility/2006">
          <mc:Choice xmlns:p14="http://schemas.microsoft.com/office/powerpoint/2010/main" Requires="p14">
            <p:contentPart p14:bwMode="auto" r:id="rId72">
              <p14:nvContentPartPr>
                <p14:cNvPr id="53" name="Ink 52">
                  <a:extLst>
                    <a:ext uri="{FF2B5EF4-FFF2-40B4-BE49-F238E27FC236}">
                      <a16:creationId xmlns:a16="http://schemas.microsoft.com/office/drawing/2014/main" id="{E1512689-869B-A35F-D1C5-706A79E8D102}"/>
                    </a:ext>
                  </a:extLst>
                </p14:cNvPr>
                <p14:cNvContentPartPr/>
                <p14:nvPr/>
              </p14:nvContentPartPr>
              <p14:xfrm>
                <a:off x="12860590" y="3146044"/>
                <a:ext cx="31680" cy="25200"/>
              </p14:xfrm>
            </p:contentPart>
          </mc:Choice>
          <mc:Fallback>
            <p:pic>
              <p:nvPicPr>
                <p:cNvPr id="53" name="Ink 52">
                  <a:extLst>
                    <a:ext uri="{FF2B5EF4-FFF2-40B4-BE49-F238E27FC236}">
                      <a16:creationId xmlns:a16="http://schemas.microsoft.com/office/drawing/2014/main" id="{E1512689-869B-A35F-D1C5-706A79E8D102}"/>
                    </a:ext>
                  </a:extLst>
                </p:cNvPr>
                <p:cNvPicPr/>
                <p:nvPr/>
              </p:nvPicPr>
              <p:blipFill>
                <a:blip r:embed="rId73"/>
                <a:stretch>
                  <a:fillRect/>
                </a:stretch>
              </p:blipFill>
              <p:spPr>
                <a:xfrm>
                  <a:off x="12856270" y="3141724"/>
                  <a:ext cx="40320" cy="338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74">
            <p14:nvContentPartPr>
              <p14:cNvPr id="55" name="Ink 54">
                <a:extLst>
                  <a:ext uri="{FF2B5EF4-FFF2-40B4-BE49-F238E27FC236}">
                    <a16:creationId xmlns:a16="http://schemas.microsoft.com/office/drawing/2014/main" id="{D4F783BD-277C-62F9-1353-A23F2F9CD0D7}"/>
                  </a:ext>
                </a:extLst>
              </p14:cNvPr>
              <p14:cNvContentPartPr/>
              <p14:nvPr/>
            </p14:nvContentPartPr>
            <p14:xfrm>
              <a:off x="13106110" y="3117604"/>
              <a:ext cx="189000" cy="156600"/>
            </p14:xfrm>
          </p:contentPart>
        </mc:Choice>
        <mc:Fallback>
          <p:pic>
            <p:nvPicPr>
              <p:cNvPr id="55" name="Ink 54">
                <a:extLst>
                  <a:ext uri="{FF2B5EF4-FFF2-40B4-BE49-F238E27FC236}">
                    <a16:creationId xmlns:a16="http://schemas.microsoft.com/office/drawing/2014/main" id="{D4F783BD-277C-62F9-1353-A23F2F9CD0D7}"/>
                  </a:ext>
                </a:extLst>
              </p:cNvPr>
              <p:cNvPicPr/>
              <p:nvPr/>
            </p:nvPicPr>
            <p:blipFill>
              <a:blip r:embed="rId75"/>
              <a:stretch>
                <a:fillRect/>
              </a:stretch>
            </p:blipFill>
            <p:spPr>
              <a:xfrm>
                <a:off x="13101790" y="3113284"/>
                <a:ext cx="197640" cy="165240"/>
              </a:xfrm>
              <a:prstGeom prst="rect">
                <a:avLst/>
              </a:prstGeom>
            </p:spPr>
          </p:pic>
        </mc:Fallback>
      </mc:AlternateContent>
      <mc:AlternateContent xmlns:mc="http://schemas.openxmlformats.org/markup-compatibility/2006">
        <mc:Choice xmlns:p14="http://schemas.microsoft.com/office/powerpoint/2010/main" Requires="p14">
          <p:contentPart p14:bwMode="auto" r:id="rId76">
            <p14:nvContentPartPr>
              <p14:cNvPr id="56" name="Ink 55">
                <a:extLst>
                  <a:ext uri="{FF2B5EF4-FFF2-40B4-BE49-F238E27FC236}">
                    <a16:creationId xmlns:a16="http://schemas.microsoft.com/office/drawing/2014/main" id="{E988202A-5981-EBA3-0AFD-350024D470EF}"/>
                  </a:ext>
                </a:extLst>
              </p14:cNvPr>
              <p14:cNvContentPartPr/>
              <p14:nvPr/>
            </p14:nvContentPartPr>
            <p14:xfrm>
              <a:off x="13371430" y="3116164"/>
              <a:ext cx="208080" cy="294840"/>
            </p14:xfrm>
          </p:contentPart>
        </mc:Choice>
        <mc:Fallback>
          <p:pic>
            <p:nvPicPr>
              <p:cNvPr id="56" name="Ink 55">
                <a:extLst>
                  <a:ext uri="{FF2B5EF4-FFF2-40B4-BE49-F238E27FC236}">
                    <a16:creationId xmlns:a16="http://schemas.microsoft.com/office/drawing/2014/main" id="{E988202A-5981-EBA3-0AFD-350024D470EF}"/>
                  </a:ext>
                </a:extLst>
              </p:cNvPr>
              <p:cNvPicPr/>
              <p:nvPr/>
            </p:nvPicPr>
            <p:blipFill>
              <a:blip r:embed="rId77"/>
              <a:stretch>
                <a:fillRect/>
              </a:stretch>
            </p:blipFill>
            <p:spPr>
              <a:xfrm>
                <a:off x="13367110" y="3111844"/>
                <a:ext cx="216720" cy="303480"/>
              </a:xfrm>
              <a:prstGeom prst="rect">
                <a:avLst/>
              </a:prstGeom>
            </p:spPr>
          </p:pic>
        </mc:Fallback>
      </mc:AlternateContent>
      <p:grpSp>
        <p:nvGrpSpPr>
          <p:cNvPr id="59" name="Group 58">
            <a:extLst>
              <a:ext uri="{FF2B5EF4-FFF2-40B4-BE49-F238E27FC236}">
                <a16:creationId xmlns:a16="http://schemas.microsoft.com/office/drawing/2014/main" id="{C5F8AC6A-1D9C-4196-B36E-93A572B69C6D}"/>
              </a:ext>
            </a:extLst>
          </p:cNvPr>
          <p:cNvGrpSpPr/>
          <p:nvPr/>
        </p:nvGrpSpPr>
        <p:grpSpPr>
          <a:xfrm>
            <a:off x="12002710" y="3441244"/>
            <a:ext cx="366840" cy="177840"/>
            <a:chOff x="12002710" y="3441244"/>
            <a:chExt cx="366840" cy="177840"/>
          </a:xfrm>
        </p:grpSpPr>
        <mc:AlternateContent xmlns:mc="http://schemas.openxmlformats.org/markup-compatibility/2006">
          <mc:Choice xmlns:p14="http://schemas.microsoft.com/office/powerpoint/2010/main" Requires="p14">
            <p:contentPart p14:bwMode="auto" r:id="rId78">
              <p14:nvContentPartPr>
                <p14:cNvPr id="57" name="Ink 56">
                  <a:extLst>
                    <a:ext uri="{FF2B5EF4-FFF2-40B4-BE49-F238E27FC236}">
                      <a16:creationId xmlns:a16="http://schemas.microsoft.com/office/drawing/2014/main" id="{26DE1159-5D0F-E696-328B-1B7FF666BDD1}"/>
                    </a:ext>
                  </a:extLst>
                </p14:cNvPr>
                <p14:cNvContentPartPr/>
                <p14:nvPr/>
              </p14:nvContentPartPr>
              <p14:xfrm>
                <a:off x="12002710" y="3449884"/>
                <a:ext cx="227520" cy="169200"/>
              </p14:xfrm>
            </p:contentPart>
          </mc:Choice>
          <mc:Fallback>
            <p:pic>
              <p:nvPicPr>
                <p:cNvPr id="57" name="Ink 56">
                  <a:extLst>
                    <a:ext uri="{FF2B5EF4-FFF2-40B4-BE49-F238E27FC236}">
                      <a16:creationId xmlns:a16="http://schemas.microsoft.com/office/drawing/2014/main" id="{26DE1159-5D0F-E696-328B-1B7FF666BDD1}"/>
                    </a:ext>
                  </a:extLst>
                </p:cNvPr>
                <p:cNvPicPr/>
                <p:nvPr/>
              </p:nvPicPr>
              <p:blipFill>
                <a:blip r:embed="rId79"/>
                <a:stretch>
                  <a:fillRect/>
                </a:stretch>
              </p:blipFill>
              <p:spPr>
                <a:xfrm>
                  <a:off x="11998390" y="3445564"/>
                  <a:ext cx="236160" cy="177840"/>
                </a:xfrm>
                <a:prstGeom prst="rect">
                  <a:avLst/>
                </a:prstGeom>
              </p:spPr>
            </p:pic>
          </mc:Fallback>
        </mc:AlternateContent>
        <mc:AlternateContent xmlns:mc="http://schemas.openxmlformats.org/markup-compatibility/2006">
          <mc:Choice xmlns:p14="http://schemas.microsoft.com/office/powerpoint/2010/main" Requires="p14">
            <p:contentPart p14:bwMode="auto" r:id="rId80">
              <p14:nvContentPartPr>
                <p14:cNvPr id="58" name="Ink 57">
                  <a:extLst>
                    <a:ext uri="{FF2B5EF4-FFF2-40B4-BE49-F238E27FC236}">
                      <a16:creationId xmlns:a16="http://schemas.microsoft.com/office/drawing/2014/main" id="{433D4ADD-163C-14A8-8906-D0F5835B7E74}"/>
                    </a:ext>
                  </a:extLst>
                </p14:cNvPr>
                <p14:cNvContentPartPr/>
                <p14:nvPr/>
              </p14:nvContentPartPr>
              <p14:xfrm>
                <a:off x="12319510" y="3441244"/>
                <a:ext cx="50040" cy="156240"/>
              </p14:xfrm>
            </p:contentPart>
          </mc:Choice>
          <mc:Fallback>
            <p:pic>
              <p:nvPicPr>
                <p:cNvPr id="58" name="Ink 57">
                  <a:extLst>
                    <a:ext uri="{FF2B5EF4-FFF2-40B4-BE49-F238E27FC236}">
                      <a16:creationId xmlns:a16="http://schemas.microsoft.com/office/drawing/2014/main" id="{433D4ADD-163C-14A8-8906-D0F5835B7E74}"/>
                    </a:ext>
                  </a:extLst>
                </p:cNvPr>
                <p:cNvPicPr/>
                <p:nvPr/>
              </p:nvPicPr>
              <p:blipFill>
                <a:blip r:embed="rId81"/>
                <a:stretch>
                  <a:fillRect/>
                </a:stretch>
              </p:blipFill>
              <p:spPr>
                <a:xfrm>
                  <a:off x="12315190" y="3436924"/>
                  <a:ext cx="58680" cy="1648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82">
            <p14:nvContentPartPr>
              <p14:cNvPr id="60" name="Ink 59">
                <a:extLst>
                  <a:ext uri="{FF2B5EF4-FFF2-40B4-BE49-F238E27FC236}">
                    <a16:creationId xmlns:a16="http://schemas.microsoft.com/office/drawing/2014/main" id="{7B345C3C-5221-3A73-652F-F376523A9CEE}"/>
                  </a:ext>
                </a:extLst>
              </p14:cNvPr>
              <p14:cNvContentPartPr/>
              <p14:nvPr/>
            </p14:nvContentPartPr>
            <p14:xfrm>
              <a:off x="12378550" y="3434404"/>
              <a:ext cx="135000" cy="167040"/>
            </p14:xfrm>
          </p:contentPart>
        </mc:Choice>
        <mc:Fallback>
          <p:pic>
            <p:nvPicPr>
              <p:cNvPr id="60" name="Ink 59">
                <a:extLst>
                  <a:ext uri="{FF2B5EF4-FFF2-40B4-BE49-F238E27FC236}">
                    <a16:creationId xmlns:a16="http://schemas.microsoft.com/office/drawing/2014/main" id="{7B345C3C-5221-3A73-652F-F376523A9CEE}"/>
                  </a:ext>
                </a:extLst>
              </p:cNvPr>
              <p:cNvPicPr/>
              <p:nvPr/>
            </p:nvPicPr>
            <p:blipFill>
              <a:blip r:embed="rId83"/>
              <a:stretch>
                <a:fillRect/>
              </a:stretch>
            </p:blipFill>
            <p:spPr>
              <a:xfrm>
                <a:off x="12374230" y="3430084"/>
                <a:ext cx="143640" cy="175680"/>
              </a:xfrm>
              <a:prstGeom prst="rect">
                <a:avLst/>
              </a:prstGeom>
            </p:spPr>
          </p:pic>
        </mc:Fallback>
      </mc:AlternateContent>
      <mc:AlternateContent xmlns:mc="http://schemas.openxmlformats.org/markup-compatibility/2006">
        <mc:Choice xmlns:p14="http://schemas.microsoft.com/office/powerpoint/2010/main" Requires="p14">
          <p:contentPart p14:bwMode="auto" r:id="rId84">
            <p14:nvContentPartPr>
              <p14:cNvPr id="61" name="Ink 60">
                <a:extLst>
                  <a:ext uri="{FF2B5EF4-FFF2-40B4-BE49-F238E27FC236}">
                    <a16:creationId xmlns:a16="http://schemas.microsoft.com/office/drawing/2014/main" id="{6604F820-C740-6A50-F74B-0D3E7B6898BD}"/>
                  </a:ext>
                </a:extLst>
              </p14:cNvPr>
              <p14:cNvContentPartPr/>
              <p14:nvPr/>
            </p14:nvContentPartPr>
            <p14:xfrm>
              <a:off x="12576190" y="3468244"/>
              <a:ext cx="140040" cy="141480"/>
            </p14:xfrm>
          </p:contentPart>
        </mc:Choice>
        <mc:Fallback>
          <p:pic>
            <p:nvPicPr>
              <p:cNvPr id="61" name="Ink 60">
                <a:extLst>
                  <a:ext uri="{FF2B5EF4-FFF2-40B4-BE49-F238E27FC236}">
                    <a16:creationId xmlns:a16="http://schemas.microsoft.com/office/drawing/2014/main" id="{6604F820-C740-6A50-F74B-0D3E7B6898BD}"/>
                  </a:ext>
                </a:extLst>
              </p:cNvPr>
              <p:cNvPicPr/>
              <p:nvPr/>
            </p:nvPicPr>
            <p:blipFill>
              <a:blip r:embed="rId85"/>
              <a:stretch>
                <a:fillRect/>
              </a:stretch>
            </p:blipFill>
            <p:spPr>
              <a:xfrm>
                <a:off x="12571870" y="3463924"/>
                <a:ext cx="148680" cy="150120"/>
              </a:xfrm>
              <a:prstGeom prst="rect">
                <a:avLst/>
              </a:prstGeom>
            </p:spPr>
          </p:pic>
        </mc:Fallback>
      </mc:AlternateContent>
      <mc:AlternateContent xmlns:mc="http://schemas.openxmlformats.org/markup-compatibility/2006">
        <mc:Choice xmlns:p14="http://schemas.microsoft.com/office/powerpoint/2010/main" Requires="p14">
          <p:contentPart p14:bwMode="auto" r:id="rId86">
            <p14:nvContentPartPr>
              <p14:cNvPr id="65" name="Ink 64">
                <a:extLst>
                  <a:ext uri="{FF2B5EF4-FFF2-40B4-BE49-F238E27FC236}">
                    <a16:creationId xmlns:a16="http://schemas.microsoft.com/office/drawing/2014/main" id="{6F7FBEF9-E5E8-0476-7A2F-6858C9B58FA6}"/>
                  </a:ext>
                </a:extLst>
              </p14:cNvPr>
              <p14:cNvContentPartPr/>
              <p14:nvPr/>
            </p14:nvContentPartPr>
            <p14:xfrm>
              <a:off x="12734230" y="3427204"/>
              <a:ext cx="157680" cy="201240"/>
            </p14:xfrm>
          </p:contentPart>
        </mc:Choice>
        <mc:Fallback>
          <p:pic>
            <p:nvPicPr>
              <p:cNvPr id="65" name="Ink 64">
                <a:extLst>
                  <a:ext uri="{FF2B5EF4-FFF2-40B4-BE49-F238E27FC236}">
                    <a16:creationId xmlns:a16="http://schemas.microsoft.com/office/drawing/2014/main" id="{6F7FBEF9-E5E8-0476-7A2F-6858C9B58FA6}"/>
                  </a:ext>
                </a:extLst>
              </p:cNvPr>
              <p:cNvPicPr/>
              <p:nvPr/>
            </p:nvPicPr>
            <p:blipFill>
              <a:blip r:embed="rId87"/>
              <a:stretch>
                <a:fillRect/>
              </a:stretch>
            </p:blipFill>
            <p:spPr>
              <a:xfrm>
                <a:off x="12729910" y="3422884"/>
                <a:ext cx="166320" cy="209880"/>
              </a:xfrm>
              <a:prstGeom prst="rect">
                <a:avLst/>
              </a:prstGeom>
            </p:spPr>
          </p:pic>
        </mc:Fallback>
      </mc:AlternateContent>
      <p:grpSp>
        <p:nvGrpSpPr>
          <p:cNvPr id="68" name="Group 67">
            <a:extLst>
              <a:ext uri="{FF2B5EF4-FFF2-40B4-BE49-F238E27FC236}">
                <a16:creationId xmlns:a16="http://schemas.microsoft.com/office/drawing/2014/main" id="{A6EBECC4-53C9-0848-2265-58BD703B7260}"/>
              </a:ext>
            </a:extLst>
          </p:cNvPr>
          <p:cNvGrpSpPr/>
          <p:nvPr/>
        </p:nvGrpSpPr>
        <p:grpSpPr>
          <a:xfrm>
            <a:off x="12860590" y="3450964"/>
            <a:ext cx="177480" cy="198360"/>
            <a:chOff x="12860590" y="3450964"/>
            <a:chExt cx="177480" cy="198360"/>
          </a:xfrm>
        </p:grpSpPr>
        <mc:AlternateContent xmlns:mc="http://schemas.openxmlformats.org/markup-compatibility/2006">
          <mc:Choice xmlns:p14="http://schemas.microsoft.com/office/powerpoint/2010/main" Requires="p14">
            <p:contentPart p14:bwMode="auto" r:id="rId88">
              <p14:nvContentPartPr>
                <p14:cNvPr id="62" name="Ink 61">
                  <a:extLst>
                    <a:ext uri="{FF2B5EF4-FFF2-40B4-BE49-F238E27FC236}">
                      <a16:creationId xmlns:a16="http://schemas.microsoft.com/office/drawing/2014/main" id="{FEE02602-185E-E89D-1DDA-9E237614A293}"/>
                    </a:ext>
                  </a:extLst>
                </p14:cNvPr>
                <p14:cNvContentPartPr/>
                <p14:nvPr/>
              </p14:nvContentPartPr>
              <p14:xfrm>
                <a:off x="12860590" y="3450964"/>
                <a:ext cx="360" cy="4320"/>
              </p14:xfrm>
            </p:contentPart>
          </mc:Choice>
          <mc:Fallback>
            <p:pic>
              <p:nvPicPr>
                <p:cNvPr id="62" name="Ink 61">
                  <a:extLst>
                    <a:ext uri="{FF2B5EF4-FFF2-40B4-BE49-F238E27FC236}">
                      <a16:creationId xmlns:a16="http://schemas.microsoft.com/office/drawing/2014/main" id="{FEE02602-185E-E89D-1DDA-9E237614A293}"/>
                    </a:ext>
                  </a:extLst>
                </p:cNvPr>
                <p:cNvPicPr/>
                <p:nvPr/>
              </p:nvPicPr>
              <p:blipFill>
                <a:blip r:embed="rId89"/>
                <a:stretch>
                  <a:fillRect/>
                </a:stretch>
              </p:blipFill>
              <p:spPr>
                <a:xfrm>
                  <a:off x="12856270" y="3446644"/>
                  <a:ext cx="9000" cy="12960"/>
                </a:xfrm>
                <a:prstGeom prst="rect">
                  <a:avLst/>
                </a:prstGeom>
              </p:spPr>
            </p:pic>
          </mc:Fallback>
        </mc:AlternateContent>
        <mc:AlternateContent xmlns:mc="http://schemas.openxmlformats.org/markup-compatibility/2006">
          <mc:Choice xmlns:p14="http://schemas.microsoft.com/office/powerpoint/2010/main" Requires="p14">
            <p:contentPart p14:bwMode="auto" r:id="rId90">
              <p14:nvContentPartPr>
                <p14:cNvPr id="63" name="Ink 62">
                  <a:extLst>
                    <a:ext uri="{FF2B5EF4-FFF2-40B4-BE49-F238E27FC236}">
                      <a16:creationId xmlns:a16="http://schemas.microsoft.com/office/drawing/2014/main" id="{EEDFEADA-2597-AB90-729E-320E5D92B264}"/>
                    </a:ext>
                  </a:extLst>
                </p14:cNvPr>
                <p14:cNvContentPartPr/>
                <p14:nvPr/>
              </p14:nvContentPartPr>
              <p14:xfrm>
                <a:off x="12860590" y="3460684"/>
                <a:ext cx="360" cy="360"/>
              </p14:xfrm>
            </p:contentPart>
          </mc:Choice>
          <mc:Fallback>
            <p:pic>
              <p:nvPicPr>
                <p:cNvPr id="63" name="Ink 62">
                  <a:extLst>
                    <a:ext uri="{FF2B5EF4-FFF2-40B4-BE49-F238E27FC236}">
                      <a16:creationId xmlns:a16="http://schemas.microsoft.com/office/drawing/2014/main" id="{EEDFEADA-2597-AB90-729E-320E5D92B264}"/>
                    </a:ext>
                  </a:extLst>
                </p:cNvPr>
                <p:cNvPicPr/>
                <p:nvPr/>
              </p:nvPicPr>
              <p:blipFill>
                <a:blip r:embed="rId46"/>
                <a:stretch>
                  <a:fillRect/>
                </a:stretch>
              </p:blipFill>
              <p:spPr>
                <a:xfrm>
                  <a:off x="12856270" y="3456364"/>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91">
              <p14:nvContentPartPr>
                <p14:cNvPr id="67" name="Ink 66">
                  <a:extLst>
                    <a:ext uri="{FF2B5EF4-FFF2-40B4-BE49-F238E27FC236}">
                      <a16:creationId xmlns:a16="http://schemas.microsoft.com/office/drawing/2014/main" id="{CCE004F7-D7E8-A1B1-3121-4232F3450C8A}"/>
                    </a:ext>
                  </a:extLst>
                </p14:cNvPr>
                <p14:cNvContentPartPr/>
                <p14:nvPr/>
              </p14:nvContentPartPr>
              <p14:xfrm>
                <a:off x="12957070" y="3450964"/>
                <a:ext cx="81000" cy="198360"/>
              </p14:xfrm>
            </p:contentPart>
          </mc:Choice>
          <mc:Fallback>
            <p:pic>
              <p:nvPicPr>
                <p:cNvPr id="67" name="Ink 66">
                  <a:extLst>
                    <a:ext uri="{FF2B5EF4-FFF2-40B4-BE49-F238E27FC236}">
                      <a16:creationId xmlns:a16="http://schemas.microsoft.com/office/drawing/2014/main" id="{CCE004F7-D7E8-A1B1-3121-4232F3450C8A}"/>
                    </a:ext>
                  </a:extLst>
                </p:cNvPr>
                <p:cNvPicPr/>
                <p:nvPr/>
              </p:nvPicPr>
              <p:blipFill>
                <a:blip r:embed="rId92"/>
                <a:stretch>
                  <a:fillRect/>
                </a:stretch>
              </p:blipFill>
              <p:spPr>
                <a:xfrm>
                  <a:off x="12952750" y="3446644"/>
                  <a:ext cx="89640" cy="20700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93">
            <p14:nvContentPartPr>
              <p14:cNvPr id="69" name="Ink 68">
                <a:extLst>
                  <a:ext uri="{FF2B5EF4-FFF2-40B4-BE49-F238E27FC236}">
                    <a16:creationId xmlns:a16="http://schemas.microsoft.com/office/drawing/2014/main" id="{51265BCD-E8CC-E696-E304-8D895909AC88}"/>
                  </a:ext>
                </a:extLst>
              </p14:cNvPr>
              <p14:cNvContentPartPr/>
              <p14:nvPr/>
            </p14:nvContentPartPr>
            <p14:xfrm>
              <a:off x="12831430" y="3579484"/>
              <a:ext cx="206640" cy="78480"/>
            </p14:xfrm>
          </p:contentPart>
        </mc:Choice>
        <mc:Fallback>
          <p:pic>
            <p:nvPicPr>
              <p:cNvPr id="69" name="Ink 68">
                <a:extLst>
                  <a:ext uri="{FF2B5EF4-FFF2-40B4-BE49-F238E27FC236}">
                    <a16:creationId xmlns:a16="http://schemas.microsoft.com/office/drawing/2014/main" id="{51265BCD-E8CC-E696-E304-8D895909AC88}"/>
                  </a:ext>
                </a:extLst>
              </p:cNvPr>
              <p:cNvPicPr/>
              <p:nvPr/>
            </p:nvPicPr>
            <p:blipFill>
              <a:blip r:embed="rId94"/>
              <a:stretch>
                <a:fillRect/>
              </a:stretch>
            </p:blipFill>
            <p:spPr>
              <a:xfrm>
                <a:off x="12827110" y="3575164"/>
                <a:ext cx="215280" cy="87120"/>
              </a:xfrm>
              <a:prstGeom prst="rect">
                <a:avLst/>
              </a:prstGeom>
            </p:spPr>
          </p:pic>
        </mc:Fallback>
      </mc:AlternateContent>
      <p:grpSp>
        <p:nvGrpSpPr>
          <p:cNvPr id="73" name="Group 72">
            <a:extLst>
              <a:ext uri="{FF2B5EF4-FFF2-40B4-BE49-F238E27FC236}">
                <a16:creationId xmlns:a16="http://schemas.microsoft.com/office/drawing/2014/main" id="{32A3C935-FD71-448D-F78F-436738B541B1}"/>
              </a:ext>
            </a:extLst>
          </p:cNvPr>
          <p:cNvGrpSpPr/>
          <p:nvPr/>
        </p:nvGrpSpPr>
        <p:grpSpPr>
          <a:xfrm>
            <a:off x="12624790" y="3707644"/>
            <a:ext cx="188280" cy="226440"/>
            <a:chOff x="12624790" y="3707644"/>
            <a:chExt cx="188280" cy="226440"/>
          </a:xfrm>
        </p:grpSpPr>
        <mc:AlternateContent xmlns:mc="http://schemas.openxmlformats.org/markup-compatibility/2006">
          <mc:Choice xmlns:p14="http://schemas.microsoft.com/office/powerpoint/2010/main" Requires="p14">
            <p:contentPart p14:bwMode="auto" r:id="rId95">
              <p14:nvContentPartPr>
                <p14:cNvPr id="70" name="Ink 69">
                  <a:extLst>
                    <a:ext uri="{FF2B5EF4-FFF2-40B4-BE49-F238E27FC236}">
                      <a16:creationId xmlns:a16="http://schemas.microsoft.com/office/drawing/2014/main" id="{A9B983D3-7E60-9C62-6D6F-692DC13CD903}"/>
                    </a:ext>
                  </a:extLst>
                </p14:cNvPr>
                <p14:cNvContentPartPr/>
                <p14:nvPr/>
              </p14:nvContentPartPr>
              <p14:xfrm>
                <a:off x="12624790" y="3736084"/>
                <a:ext cx="49680" cy="175680"/>
              </p14:xfrm>
            </p:contentPart>
          </mc:Choice>
          <mc:Fallback>
            <p:pic>
              <p:nvPicPr>
                <p:cNvPr id="70" name="Ink 69">
                  <a:extLst>
                    <a:ext uri="{FF2B5EF4-FFF2-40B4-BE49-F238E27FC236}">
                      <a16:creationId xmlns:a16="http://schemas.microsoft.com/office/drawing/2014/main" id="{A9B983D3-7E60-9C62-6D6F-692DC13CD903}"/>
                    </a:ext>
                  </a:extLst>
                </p:cNvPr>
                <p:cNvPicPr/>
                <p:nvPr/>
              </p:nvPicPr>
              <p:blipFill>
                <a:blip r:embed="rId96"/>
                <a:stretch>
                  <a:fillRect/>
                </a:stretch>
              </p:blipFill>
              <p:spPr>
                <a:xfrm>
                  <a:off x="12620470" y="3731764"/>
                  <a:ext cx="58320" cy="184320"/>
                </a:xfrm>
                <a:prstGeom prst="rect">
                  <a:avLst/>
                </a:prstGeom>
              </p:spPr>
            </p:pic>
          </mc:Fallback>
        </mc:AlternateContent>
        <mc:AlternateContent xmlns:mc="http://schemas.openxmlformats.org/markup-compatibility/2006">
          <mc:Choice xmlns:p14="http://schemas.microsoft.com/office/powerpoint/2010/main" Requires="p14">
            <p:contentPart p14:bwMode="auto" r:id="rId97">
              <p14:nvContentPartPr>
                <p14:cNvPr id="71" name="Ink 70">
                  <a:extLst>
                    <a:ext uri="{FF2B5EF4-FFF2-40B4-BE49-F238E27FC236}">
                      <a16:creationId xmlns:a16="http://schemas.microsoft.com/office/drawing/2014/main" id="{0F698866-1A92-1C7D-D30E-38CC2940B272}"/>
                    </a:ext>
                  </a:extLst>
                </p14:cNvPr>
                <p14:cNvContentPartPr/>
                <p14:nvPr/>
              </p14:nvContentPartPr>
              <p14:xfrm>
                <a:off x="12624790" y="3716644"/>
                <a:ext cx="360" cy="360"/>
              </p14:xfrm>
            </p:contentPart>
          </mc:Choice>
          <mc:Fallback>
            <p:pic>
              <p:nvPicPr>
                <p:cNvPr id="71" name="Ink 70">
                  <a:extLst>
                    <a:ext uri="{FF2B5EF4-FFF2-40B4-BE49-F238E27FC236}">
                      <a16:creationId xmlns:a16="http://schemas.microsoft.com/office/drawing/2014/main" id="{0F698866-1A92-1C7D-D30E-38CC2940B272}"/>
                    </a:ext>
                  </a:extLst>
                </p:cNvPr>
                <p:cNvPicPr/>
                <p:nvPr/>
              </p:nvPicPr>
              <p:blipFill>
                <a:blip r:embed="rId46"/>
                <a:stretch>
                  <a:fillRect/>
                </a:stretch>
              </p:blipFill>
              <p:spPr>
                <a:xfrm>
                  <a:off x="12620470" y="3712324"/>
                  <a:ext cx="9000" cy="9000"/>
                </a:xfrm>
                <a:prstGeom prst="rect">
                  <a:avLst/>
                </a:prstGeom>
              </p:spPr>
            </p:pic>
          </mc:Fallback>
        </mc:AlternateContent>
        <mc:AlternateContent xmlns:mc="http://schemas.openxmlformats.org/markup-compatibility/2006">
          <mc:Choice xmlns:p14="http://schemas.microsoft.com/office/powerpoint/2010/main" Requires="p14">
            <p:contentPart p14:bwMode="auto" r:id="rId98">
              <p14:nvContentPartPr>
                <p14:cNvPr id="72" name="Ink 71">
                  <a:extLst>
                    <a:ext uri="{FF2B5EF4-FFF2-40B4-BE49-F238E27FC236}">
                      <a16:creationId xmlns:a16="http://schemas.microsoft.com/office/drawing/2014/main" id="{FCD83932-17DB-1CBE-8BC4-62C7042E8DA5}"/>
                    </a:ext>
                  </a:extLst>
                </p14:cNvPr>
                <p14:cNvContentPartPr/>
                <p14:nvPr/>
              </p14:nvContentPartPr>
              <p14:xfrm>
                <a:off x="12624790" y="3707644"/>
                <a:ext cx="188280" cy="226440"/>
              </p14:xfrm>
            </p:contentPart>
          </mc:Choice>
          <mc:Fallback>
            <p:pic>
              <p:nvPicPr>
                <p:cNvPr id="72" name="Ink 71">
                  <a:extLst>
                    <a:ext uri="{FF2B5EF4-FFF2-40B4-BE49-F238E27FC236}">
                      <a16:creationId xmlns:a16="http://schemas.microsoft.com/office/drawing/2014/main" id="{FCD83932-17DB-1CBE-8BC4-62C7042E8DA5}"/>
                    </a:ext>
                  </a:extLst>
                </p:cNvPr>
                <p:cNvPicPr/>
                <p:nvPr/>
              </p:nvPicPr>
              <p:blipFill>
                <a:blip r:embed="rId99"/>
                <a:stretch>
                  <a:fillRect/>
                </a:stretch>
              </p:blipFill>
              <p:spPr>
                <a:xfrm>
                  <a:off x="12620470" y="3703324"/>
                  <a:ext cx="196920" cy="23508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00">
            <p14:nvContentPartPr>
              <p14:cNvPr id="74" name="Ink 73">
                <a:extLst>
                  <a:ext uri="{FF2B5EF4-FFF2-40B4-BE49-F238E27FC236}">
                    <a16:creationId xmlns:a16="http://schemas.microsoft.com/office/drawing/2014/main" id="{DBA7B00C-1470-BF59-963E-8621F9A75372}"/>
                  </a:ext>
                </a:extLst>
              </p14:cNvPr>
              <p14:cNvContentPartPr/>
              <p14:nvPr/>
            </p14:nvContentPartPr>
            <p14:xfrm>
              <a:off x="12849070" y="3736084"/>
              <a:ext cx="150480" cy="159840"/>
            </p14:xfrm>
          </p:contentPart>
        </mc:Choice>
        <mc:Fallback>
          <p:pic>
            <p:nvPicPr>
              <p:cNvPr id="74" name="Ink 73">
                <a:extLst>
                  <a:ext uri="{FF2B5EF4-FFF2-40B4-BE49-F238E27FC236}">
                    <a16:creationId xmlns:a16="http://schemas.microsoft.com/office/drawing/2014/main" id="{DBA7B00C-1470-BF59-963E-8621F9A75372}"/>
                  </a:ext>
                </a:extLst>
              </p:cNvPr>
              <p:cNvPicPr/>
              <p:nvPr/>
            </p:nvPicPr>
            <p:blipFill>
              <a:blip r:embed="rId101"/>
              <a:stretch>
                <a:fillRect/>
              </a:stretch>
            </p:blipFill>
            <p:spPr>
              <a:xfrm>
                <a:off x="12844750" y="3731764"/>
                <a:ext cx="159120" cy="168480"/>
              </a:xfrm>
              <a:prstGeom prst="rect">
                <a:avLst/>
              </a:prstGeom>
            </p:spPr>
          </p:pic>
        </mc:Fallback>
      </mc:AlternateContent>
      <p:grpSp>
        <p:nvGrpSpPr>
          <p:cNvPr id="79" name="Group 78">
            <a:extLst>
              <a:ext uri="{FF2B5EF4-FFF2-40B4-BE49-F238E27FC236}">
                <a16:creationId xmlns:a16="http://schemas.microsoft.com/office/drawing/2014/main" id="{119A9A3C-0940-C7DB-C207-3AA2A760D732}"/>
              </a:ext>
            </a:extLst>
          </p:cNvPr>
          <p:cNvGrpSpPr/>
          <p:nvPr/>
        </p:nvGrpSpPr>
        <p:grpSpPr>
          <a:xfrm>
            <a:off x="13025470" y="3726364"/>
            <a:ext cx="394200" cy="209160"/>
            <a:chOff x="13025470" y="3726364"/>
            <a:chExt cx="394200" cy="209160"/>
          </a:xfrm>
        </p:grpSpPr>
        <mc:AlternateContent xmlns:mc="http://schemas.openxmlformats.org/markup-compatibility/2006">
          <mc:Choice xmlns:p14="http://schemas.microsoft.com/office/powerpoint/2010/main" Requires="p14">
            <p:contentPart p14:bwMode="auto" r:id="rId102">
              <p14:nvContentPartPr>
                <p14:cNvPr id="75" name="Ink 74">
                  <a:extLst>
                    <a:ext uri="{FF2B5EF4-FFF2-40B4-BE49-F238E27FC236}">
                      <a16:creationId xmlns:a16="http://schemas.microsoft.com/office/drawing/2014/main" id="{550DA99E-636F-48CE-3DE2-B6E1648D0E32}"/>
                    </a:ext>
                  </a:extLst>
                </p14:cNvPr>
                <p14:cNvContentPartPr/>
                <p14:nvPr/>
              </p14:nvContentPartPr>
              <p14:xfrm>
                <a:off x="13025470" y="3728884"/>
                <a:ext cx="178200" cy="184680"/>
              </p14:xfrm>
            </p:contentPart>
          </mc:Choice>
          <mc:Fallback>
            <p:pic>
              <p:nvPicPr>
                <p:cNvPr id="75" name="Ink 74">
                  <a:extLst>
                    <a:ext uri="{FF2B5EF4-FFF2-40B4-BE49-F238E27FC236}">
                      <a16:creationId xmlns:a16="http://schemas.microsoft.com/office/drawing/2014/main" id="{550DA99E-636F-48CE-3DE2-B6E1648D0E32}"/>
                    </a:ext>
                  </a:extLst>
                </p:cNvPr>
                <p:cNvPicPr/>
                <p:nvPr/>
              </p:nvPicPr>
              <p:blipFill>
                <a:blip r:embed="rId103"/>
                <a:stretch>
                  <a:fillRect/>
                </a:stretch>
              </p:blipFill>
              <p:spPr>
                <a:xfrm>
                  <a:off x="13021150" y="3724564"/>
                  <a:ext cx="186840" cy="193320"/>
                </a:xfrm>
                <a:prstGeom prst="rect">
                  <a:avLst/>
                </a:prstGeom>
              </p:spPr>
            </p:pic>
          </mc:Fallback>
        </mc:AlternateContent>
        <mc:AlternateContent xmlns:mc="http://schemas.openxmlformats.org/markup-compatibility/2006">
          <mc:Choice xmlns:p14="http://schemas.microsoft.com/office/powerpoint/2010/main" Requires="p14">
            <p:contentPart p14:bwMode="auto" r:id="rId104">
              <p14:nvContentPartPr>
                <p14:cNvPr id="76" name="Ink 75">
                  <a:extLst>
                    <a:ext uri="{FF2B5EF4-FFF2-40B4-BE49-F238E27FC236}">
                      <a16:creationId xmlns:a16="http://schemas.microsoft.com/office/drawing/2014/main" id="{84451BDF-5BD0-1207-A1EF-404EE73E4F32}"/>
                    </a:ext>
                  </a:extLst>
                </p14:cNvPr>
                <p14:cNvContentPartPr/>
                <p14:nvPr/>
              </p14:nvContentPartPr>
              <p14:xfrm>
                <a:off x="13253710" y="3726364"/>
                <a:ext cx="36360" cy="209160"/>
              </p14:xfrm>
            </p:contentPart>
          </mc:Choice>
          <mc:Fallback>
            <p:pic>
              <p:nvPicPr>
                <p:cNvPr id="76" name="Ink 75">
                  <a:extLst>
                    <a:ext uri="{FF2B5EF4-FFF2-40B4-BE49-F238E27FC236}">
                      <a16:creationId xmlns:a16="http://schemas.microsoft.com/office/drawing/2014/main" id="{84451BDF-5BD0-1207-A1EF-404EE73E4F32}"/>
                    </a:ext>
                  </a:extLst>
                </p:cNvPr>
                <p:cNvPicPr/>
                <p:nvPr/>
              </p:nvPicPr>
              <p:blipFill>
                <a:blip r:embed="rId105"/>
                <a:stretch>
                  <a:fillRect/>
                </a:stretch>
              </p:blipFill>
              <p:spPr>
                <a:xfrm>
                  <a:off x="13249390" y="3722044"/>
                  <a:ext cx="45000" cy="217800"/>
                </a:xfrm>
                <a:prstGeom prst="rect">
                  <a:avLst/>
                </a:prstGeom>
              </p:spPr>
            </p:pic>
          </mc:Fallback>
        </mc:AlternateContent>
        <mc:AlternateContent xmlns:mc="http://schemas.openxmlformats.org/markup-compatibility/2006">
          <mc:Choice xmlns:p14="http://schemas.microsoft.com/office/powerpoint/2010/main" Requires="p14">
            <p:contentPart p14:bwMode="auto" r:id="rId106">
              <p14:nvContentPartPr>
                <p14:cNvPr id="77" name="Ink 76">
                  <a:extLst>
                    <a:ext uri="{FF2B5EF4-FFF2-40B4-BE49-F238E27FC236}">
                      <a16:creationId xmlns:a16="http://schemas.microsoft.com/office/drawing/2014/main" id="{141A377D-97E9-93DF-93C0-962B4707B4A8}"/>
                    </a:ext>
                  </a:extLst>
                </p14:cNvPr>
                <p14:cNvContentPartPr/>
                <p14:nvPr/>
              </p14:nvContentPartPr>
              <p14:xfrm>
                <a:off x="13273510" y="3749404"/>
                <a:ext cx="120960" cy="95400"/>
              </p14:xfrm>
            </p:contentPart>
          </mc:Choice>
          <mc:Fallback>
            <p:pic>
              <p:nvPicPr>
                <p:cNvPr id="77" name="Ink 76">
                  <a:extLst>
                    <a:ext uri="{FF2B5EF4-FFF2-40B4-BE49-F238E27FC236}">
                      <a16:creationId xmlns:a16="http://schemas.microsoft.com/office/drawing/2014/main" id="{141A377D-97E9-93DF-93C0-962B4707B4A8}"/>
                    </a:ext>
                  </a:extLst>
                </p:cNvPr>
                <p:cNvPicPr/>
                <p:nvPr/>
              </p:nvPicPr>
              <p:blipFill>
                <a:blip r:embed="rId107"/>
                <a:stretch>
                  <a:fillRect/>
                </a:stretch>
              </p:blipFill>
              <p:spPr>
                <a:xfrm>
                  <a:off x="13269190" y="3745084"/>
                  <a:ext cx="129600" cy="104040"/>
                </a:xfrm>
                <a:prstGeom prst="rect">
                  <a:avLst/>
                </a:prstGeom>
              </p:spPr>
            </p:pic>
          </mc:Fallback>
        </mc:AlternateContent>
        <mc:AlternateContent xmlns:mc="http://schemas.openxmlformats.org/markup-compatibility/2006">
          <mc:Choice xmlns:p14="http://schemas.microsoft.com/office/powerpoint/2010/main" Requires="p14">
            <p:contentPart p14:bwMode="auto" r:id="rId108">
              <p14:nvContentPartPr>
                <p14:cNvPr id="78" name="Ink 77">
                  <a:extLst>
                    <a:ext uri="{FF2B5EF4-FFF2-40B4-BE49-F238E27FC236}">
                      <a16:creationId xmlns:a16="http://schemas.microsoft.com/office/drawing/2014/main" id="{0DB8A43E-054D-B9D0-2111-F0D59C70AE48}"/>
                    </a:ext>
                  </a:extLst>
                </p14:cNvPr>
                <p14:cNvContentPartPr/>
                <p14:nvPr/>
              </p14:nvContentPartPr>
              <p14:xfrm>
                <a:off x="13292950" y="3837244"/>
                <a:ext cx="126720" cy="56880"/>
              </p14:xfrm>
            </p:contentPart>
          </mc:Choice>
          <mc:Fallback>
            <p:pic>
              <p:nvPicPr>
                <p:cNvPr id="78" name="Ink 77">
                  <a:extLst>
                    <a:ext uri="{FF2B5EF4-FFF2-40B4-BE49-F238E27FC236}">
                      <a16:creationId xmlns:a16="http://schemas.microsoft.com/office/drawing/2014/main" id="{0DB8A43E-054D-B9D0-2111-F0D59C70AE48}"/>
                    </a:ext>
                  </a:extLst>
                </p:cNvPr>
                <p:cNvPicPr/>
                <p:nvPr/>
              </p:nvPicPr>
              <p:blipFill>
                <a:blip r:embed="rId109"/>
                <a:stretch>
                  <a:fillRect/>
                </a:stretch>
              </p:blipFill>
              <p:spPr>
                <a:xfrm>
                  <a:off x="13288630" y="3832924"/>
                  <a:ext cx="135360" cy="65520"/>
                </a:xfrm>
                <a:prstGeom prst="rect">
                  <a:avLst/>
                </a:prstGeom>
              </p:spPr>
            </p:pic>
          </mc:Fallback>
        </mc:AlternateContent>
      </p:grpSp>
    </p:spTree>
    <p:extLst>
      <p:ext uri="{BB962C8B-B14F-4D97-AF65-F5344CB8AC3E}">
        <p14:creationId xmlns:p14="http://schemas.microsoft.com/office/powerpoint/2010/main" val="1684117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DE767-8925-B8E2-B3C6-1473D2B440F8}"/>
              </a:ext>
            </a:extLst>
          </p:cNvPr>
          <p:cNvSpPr>
            <a:spLocks noGrp="1"/>
          </p:cNvSpPr>
          <p:nvPr>
            <p:ph type="title"/>
          </p:nvPr>
        </p:nvSpPr>
        <p:spPr/>
        <p:txBody>
          <a:bodyPr/>
          <a:lstStyle/>
          <a:p>
            <a:br>
              <a:rPr lang="en-US" sz="1400" b="0" dirty="0">
                <a:solidFill>
                  <a:srgbClr val="000000"/>
                </a:solidFill>
              </a:rPr>
            </a:br>
            <a:r>
              <a:rPr lang="en-US" sz="2400" dirty="0"/>
              <a:t>FY 2023 -LDC 48-Administrative Backoffice Metrics</a:t>
            </a:r>
            <a:endParaRPr lang="en-US" dirty="0"/>
          </a:p>
        </p:txBody>
      </p:sp>
      <p:pic>
        <p:nvPicPr>
          <p:cNvPr id="6" name="Content Placeholder 5">
            <a:extLst>
              <a:ext uri="{FF2B5EF4-FFF2-40B4-BE49-F238E27FC236}">
                <a16:creationId xmlns:a16="http://schemas.microsoft.com/office/drawing/2014/main" id="{F5EC66B9-A249-FB48-2159-1869B567D753}"/>
              </a:ext>
            </a:extLst>
          </p:cNvPr>
          <p:cNvPicPr>
            <a:picLocks noGrp="1" noChangeAspect="1"/>
          </p:cNvPicPr>
          <p:nvPr>
            <p:ph idx="1"/>
          </p:nvPr>
        </p:nvPicPr>
        <p:blipFill>
          <a:blip r:embed="rId2"/>
          <a:stretch>
            <a:fillRect/>
          </a:stretch>
        </p:blipFill>
        <p:spPr>
          <a:xfrm>
            <a:off x="371475" y="700847"/>
            <a:ext cx="11156129" cy="5077104"/>
          </a:xfrm>
        </p:spPr>
      </p:pic>
      <p:sp>
        <p:nvSpPr>
          <p:cNvPr id="4" name="Date Placeholder 3">
            <a:extLst>
              <a:ext uri="{FF2B5EF4-FFF2-40B4-BE49-F238E27FC236}">
                <a16:creationId xmlns:a16="http://schemas.microsoft.com/office/drawing/2014/main" id="{25A8BB0A-A79D-BD32-FEEF-4A7D23193B16}"/>
              </a:ext>
            </a:extLst>
          </p:cNvPr>
          <p:cNvSpPr>
            <a:spLocks noGrp="1"/>
          </p:cNvSpPr>
          <p:nvPr>
            <p:ph type="dt" sz="half" idx="2"/>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mc:AlternateContent xmlns:mc="http://schemas.openxmlformats.org/markup-compatibility/2006" xmlns:p14="http://schemas.microsoft.com/office/powerpoint/2010/main">
        <mc:Choice Requires="p14">
          <p:contentPart p14:bwMode="auto" r:id="rId3">
            <p14:nvContentPartPr>
              <p14:cNvPr id="11" name="Ink 10">
                <a:extLst>
                  <a:ext uri="{FF2B5EF4-FFF2-40B4-BE49-F238E27FC236}">
                    <a16:creationId xmlns:a16="http://schemas.microsoft.com/office/drawing/2014/main" id="{71F9C123-07B5-0EFA-FA77-9B20D96ED1AD}"/>
                  </a:ext>
                </a:extLst>
              </p14:cNvPr>
              <p14:cNvContentPartPr/>
              <p14:nvPr/>
            </p14:nvContentPartPr>
            <p14:xfrm>
              <a:off x="9025590" y="1836255"/>
              <a:ext cx="3960" cy="1800"/>
            </p14:xfrm>
          </p:contentPart>
        </mc:Choice>
        <mc:Fallback xmlns="">
          <p:pic>
            <p:nvPicPr>
              <p:cNvPr id="11" name="Ink 10">
                <a:extLst>
                  <a:ext uri="{FF2B5EF4-FFF2-40B4-BE49-F238E27FC236}">
                    <a16:creationId xmlns:a16="http://schemas.microsoft.com/office/drawing/2014/main" id="{71F9C123-07B5-0EFA-FA77-9B20D96ED1AD}"/>
                  </a:ext>
                </a:extLst>
              </p:cNvPr>
              <p:cNvPicPr/>
              <p:nvPr/>
            </p:nvPicPr>
            <p:blipFill>
              <a:blip r:embed="rId4"/>
              <a:stretch>
                <a:fillRect/>
              </a:stretch>
            </p:blipFill>
            <p:spPr>
              <a:xfrm>
                <a:off x="9019470" y="1830135"/>
                <a:ext cx="16200" cy="140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9" name="Ink 8">
                <a:extLst>
                  <a:ext uri="{FF2B5EF4-FFF2-40B4-BE49-F238E27FC236}">
                    <a16:creationId xmlns:a16="http://schemas.microsoft.com/office/drawing/2014/main" id="{3A2458FA-929F-992D-4F69-350B4C586930}"/>
                  </a:ext>
                </a:extLst>
              </p14:cNvPr>
              <p14:cNvContentPartPr/>
              <p14:nvPr/>
            </p14:nvContentPartPr>
            <p14:xfrm>
              <a:off x="8950710" y="1871535"/>
              <a:ext cx="108720" cy="84240"/>
            </p14:xfrm>
          </p:contentPart>
        </mc:Choice>
        <mc:Fallback xmlns="">
          <p:pic>
            <p:nvPicPr>
              <p:cNvPr id="9" name="Ink 8">
                <a:extLst>
                  <a:ext uri="{FF2B5EF4-FFF2-40B4-BE49-F238E27FC236}">
                    <a16:creationId xmlns:a16="http://schemas.microsoft.com/office/drawing/2014/main" id="{3A2458FA-929F-992D-4F69-350B4C586930}"/>
                  </a:ext>
                </a:extLst>
              </p:cNvPr>
              <p:cNvPicPr/>
              <p:nvPr/>
            </p:nvPicPr>
            <p:blipFill>
              <a:blip r:embed="rId6"/>
              <a:stretch>
                <a:fillRect/>
              </a:stretch>
            </p:blipFill>
            <p:spPr>
              <a:xfrm>
                <a:off x="8944590" y="1865415"/>
                <a:ext cx="120960" cy="96480"/>
              </a:xfrm>
              <a:prstGeom prst="rect">
                <a:avLst/>
              </a:prstGeom>
            </p:spPr>
          </p:pic>
        </mc:Fallback>
      </mc:AlternateContent>
      <p:grpSp>
        <p:nvGrpSpPr>
          <p:cNvPr id="18" name="Group 17">
            <a:extLst>
              <a:ext uri="{FF2B5EF4-FFF2-40B4-BE49-F238E27FC236}">
                <a16:creationId xmlns:a16="http://schemas.microsoft.com/office/drawing/2014/main" id="{659A6A3E-F411-ECED-A2F3-6AB7287C09D1}"/>
              </a:ext>
            </a:extLst>
          </p:cNvPr>
          <p:cNvGrpSpPr/>
          <p:nvPr/>
        </p:nvGrpSpPr>
        <p:grpSpPr>
          <a:xfrm>
            <a:off x="8780070" y="1800255"/>
            <a:ext cx="393120" cy="151200"/>
            <a:chOff x="8780070" y="1800255"/>
            <a:chExt cx="393120" cy="151200"/>
          </a:xfrm>
        </p:grpSpPr>
        <mc:AlternateContent xmlns:mc="http://schemas.openxmlformats.org/markup-compatibility/2006" xmlns:p14="http://schemas.microsoft.com/office/powerpoint/2010/main">
          <mc:Choice Requires="p14">
            <p:contentPart p14:bwMode="auto" r:id="rId7">
              <p14:nvContentPartPr>
                <p14:cNvPr id="3" name="Ink 2">
                  <a:extLst>
                    <a:ext uri="{FF2B5EF4-FFF2-40B4-BE49-F238E27FC236}">
                      <a16:creationId xmlns:a16="http://schemas.microsoft.com/office/drawing/2014/main" id="{F5813BFF-9349-AFD5-C386-C93727B208E2}"/>
                    </a:ext>
                  </a:extLst>
                </p14:cNvPr>
                <p14:cNvContentPartPr/>
                <p14:nvPr/>
              </p14:nvContentPartPr>
              <p14:xfrm>
                <a:off x="8780070" y="1818975"/>
                <a:ext cx="80640" cy="71640"/>
              </p14:xfrm>
            </p:contentPart>
          </mc:Choice>
          <mc:Fallback xmlns="">
            <p:pic>
              <p:nvPicPr>
                <p:cNvPr id="3" name="Ink 2">
                  <a:extLst>
                    <a:ext uri="{FF2B5EF4-FFF2-40B4-BE49-F238E27FC236}">
                      <a16:creationId xmlns:a16="http://schemas.microsoft.com/office/drawing/2014/main" id="{F5813BFF-9349-AFD5-C386-C93727B208E2}"/>
                    </a:ext>
                  </a:extLst>
                </p:cNvPr>
                <p:cNvPicPr/>
                <p:nvPr/>
              </p:nvPicPr>
              <p:blipFill>
                <a:blip r:embed="rId8"/>
                <a:stretch>
                  <a:fillRect/>
                </a:stretch>
              </p:blipFill>
              <p:spPr>
                <a:xfrm>
                  <a:off x="8773950" y="1812855"/>
                  <a:ext cx="92880" cy="838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5" name="Ink 4">
                  <a:extLst>
                    <a:ext uri="{FF2B5EF4-FFF2-40B4-BE49-F238E27FC236}">
                      <a16:creationId xmlns:a16="http://schemas.microsoft.com/office/drawing/2014/main" id="{7D6FCB94-33FB-9202-907A-2540EE302FAD}"/>
                    </a:ext>
                  </a:extLst>
                </p14:cNvPr>
                <p14:cNvContentPartPr/>
                <p14:nvPr/>
              </p14:nvContentPartPr>
              <p14:xfrm>
                <a:off x="8877270" y="1818975"/>
                <a:ext cx="19800" cy="132480"/>
              </p14:xfrm>
            </p:contentPart>
          </mc:Choice>
          <mc:Fallback xmlns="">
            <p:pic>
              <p:nvPicPr>
                <p:cNvPr id="5" name="Ink 4">
                  <a:extLst>
                    <a:ext uri="{FF2B5EF4-FFF2-40B4-BE49-F238E27FC236}">
                      <a16:creationId xmlns:a16="http://schemas.microsoft.com/office/drawing/2014/main" id="{7D6FCB94-33FB-9202-907A-2540EE302FAD}"/>
                    </a:ext>
                  </a:extLst>
                </p:cNvPr>
                <p:cNvPicPr/>
                <p:nvPr/>
              </p:nvPicPr>
              <p:blipFill>
                <a:blip r:embed="rId10"/>
                <a:stretch>
                  <a:fillRect/>
                </a:stretch>
              </p:blipFill>
              <p:spPr>
                <a:xfrm>
                  <a:off x="8871150" y="1812855"/>
                  <a:ext cx="32040" cy="14472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5" name="Ink 14">
                  <a:extLst>
                    <a:ext uri="{FF2B5EF4-FFF2-40B4-BE49-F238E27FC236}">
                      <a16:creationId xmlns:a16="http://schemas.microsoft.com/office/drawing/2014/main" id="{F926743D-7AD9-7FCC-A744-35D759DAFF46}"/>
                    </a:ext>
                  </a:extLst>
                </p14:cNvPr>
                <p14:cNvContentPartPr/>
                <p14:nvPr/>
              </p14:nvContentPartPr>
              <p14:xfrm>
                <a:off x="8959350" y="1800255"/>
                <a:ext cx="147960" cy="77760"/>
              </p14:xfrm>
            </p:contentPart>
          </mc:Choice>
          <mc:Fallback xmlns="">
            <p:pic>
              <p:nvPicPr>
                <p:cNvPr id="15" name="Ink 14">
                  <a:extLst>
                    <a:ext uri="{FF2B5EF4-FFF2-40B4-BE49-F238E27FC236}">
                      <a16:creationId xmlns:a16="http://schemas.microsoft.com/office/drawing/2014/main" id="{F926743D-7AD9-7FCC-A744-35D759DAFF46}"/>
                    </a:ext>
                  </a:extLst>
                </p:cNvPr>
                <p:cNvPicPr/>
                <p:nvPr/>
              </p:nvPicPr>
              <p:blipFill>
                <a:blip r:embed="rId12"/>
                <a:stretch>
                  <a:fillRect/>
                </a:stretch>
              </p:blipFill>
              <p:spPr>
                <a:xfrm>
                  <a:off x="8953230" y="1794135"/>
                  <a:ext cx="160200" cy="90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7" name="Ink 16">
                  <a:extLst>
                    <a:ext uri="{FF2B5EF4-FFF2-40B4-BE49-F238E27FC236}">
                      <a16:creationId xmlns:a16="http://schemas.microsoft.com/office/drawing/2014/main" id="{9298F796-A64F-7899-E695-F1BC9B84C02A}"/>
                    </a:ext>
                  </a:extLst>
                </p14:cNvPr>
                <p14:cNvContentPartPr/>
                <p14:nvPr/>
              </p14:nvContentPartPr>
              <p14:xfrm>
                <a:off x="9163110" y="1809615"/>
                <a:ext cx="10080" cy="123120"/>
              </p14:xfrm>
            </p:contentPart>
          </mc:Choice>
          <mc:Fallback xmlns="">
            <p:pic>
              <p:nvPicPr>
                <p:cNvPr id="17" name="Ink 16">
                  <a:extLst>
                    <a:ext uri="{FF2B5EF4-FFF2-40B4-BE49-F238E27FC236}">
                      <a16:creationId xmlns:a16="http://schemas.microsoft.com/office/drawing/2014/main" id="{9298F796-A64F-7899-E695-F1BC9B84C02A}"/>
                    </a:ext>
                  </a:extLst>
                </p:cNvPr>
                <p:cNvPicPr/>
                <p:nvPr/>
              </p:nvPicPr>
              <p:blipFill>
                <a:blip r:embed="rId14"/>
                <a:stretch>
                  <a:fillRect/>
                </a:stretch>
              </p:blipFill>
              <p:spPr>
                <a:xfrm>
                  <a:off x="9156990" y="1803495"/>
                  <a:ext cx="22320" cy="1353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5">
            <p14:nvContentPartPr>
              <p14:cNvPr id="19" name="Ink 18">
                <a:extLst>
                  <a:ext uri="{FF2B5EF4-FFF2-40B4-BE49-F238E27FC236}">
                    <a16:creationId xmlns:a16="http://schemas.microsoft.com/office/drawing/2014/main" id="{1AFB4B03-1A8F-AF9B-F12E-B2DC5E483F4F}"/>
                  </a:ext>
                </a:extLst>
              </p14:cNvPr>
              <p14:cNvContentPartPr/>
              <p14:nvPr/>
            </p14:nvContentPartPr>
            <p14:xfrm>
              <a:off x="9243030" y="1812135"/>
              <a:ext cx="102600" cy="114120"/>
            </p14:xfrm>
          </p:contentPart>
        </mc:Choice>
        <mc:Fallback xmlns="">
          <p:pic>
            <p:nvPicPr>
              <p:cNvPr id="19" name="Ink 18">
                <a:extLst>
                  <a:ext uri="{FF2B5EF4-FFF2-40B4-BE49-F238E27FC236}">
                    <a16:creationId xmlns:a16="http://schemas.microsoft.com/office/drawing/2014/main" id="{1AFB4B03-1A8F-AF9B-F12E-B2DC5E483F4F}"/>
                  </a:ext>
                </a:extLst>
              </p:cNvPr>
              <p:cNvPicPr/>
              <p:nvPr/>
            </p:nvPicPr>
            <p:blipFill>
              <a:blip r:embed="rId16"/>
              <a:stretch>
                <a:fillRect/>
              </a:stretch>
            </p:blipFill>
            <p:spPr>
              <a:xfrm>
                <a:off x="9236910" y="1806015"/>
                <a:ext cx="114840" cy="126360"/>
              </a:xfrm>
              <a:prstGeom prst="rect">
                <a:avLst/>
              </a:prstGeom>
            </p:spPr>
          </p:pic>
        </mc:Fallback>
      </mc:AlternateContent>
      <p:grpSp>
        <p:nvGrpSpPr>
          <p:cNvPr id="28" name="Group 27">
            <a:extLst>
              <a:ext uri="{FF2B5EF4-FFF2-40B4-BE49-F238E27FC236}">
                <a16:creationId xmlns:a16="http://schemas.microsoft.com/office/drawing/2014/main" id="{F9FDA38D-728F-9238-4134-C900F9BB97E6}"/>
              </a:ext>
            </a:extLst>
          </p:cNvPr>
          <p:cNvGrpSpPr/>
          <p:nvPr/>
        </p:nvGrpSpPr>
        <p:grpSpPr>
          <a:xfrm>
            <a:off x="9393870" y="1791975"/>
            <a:ext cx="579240" cy="195120"/>
            <a:chOff x="9393870" y="1791975"/>
            <a:chExt cx="579240" cy="195120"/>
          </a:xfrm>
        </p:grpSpPr>
        <mc:AlternateContent xmlns:mc="http://schemas.openxmlformats.org/markup-compatibility/2006" xmlns:p14="http://schemas.microsoft.com/office/powerpoint/2010/main">
          <mc:Choice Requires="p14">
            <p:contentPart p14:bwMode="auto" r:id="rId17">
              <p14:nvContentPartPr>
                <p14:cNvPr id="20" name="Ink 19">
                  <a:extLst>
                    <a:ext uri="{FF2B5EF4-FFF2-40B4-BE49-F238E27FC236}">
                      <a16:creationId xmlns:a16="http://schemas.microsoft.com/office/drawing/2014/main" id="{F1B2CCA2-FCAC-5664-ED9D-2EFB32C27FB6}"/>
                    </a:ext>
                  </a:extLst>
                </p14:cNvPr>
                <p14:cNvContentPartPr/>
                <p14:nvPr/>
              </p14:nvContentPartPr>
              <p14:xfrm>
                <a:off x="9393870" y="1791975"/>
                <a:ext cx="123840" cy="195120"/>
              </p14:xfrm>
            </p:contentPart>
          </mc:Choice>
          <mc:Fallback xmlns="">
            <p:pic>
              <p:nvPicPr>
                <p:cNvPr id="20" name="Ink 19">
                  <a:extLst>
                    <a:ext uri="{FF2B5EF4-FFF2-40B4-BE49-F238E27FC236}">
                      <a16:creationId xmlns:a16="http://schemas.microsoft.com/office/drawing/2014/main" id="{F1B2CCA2-FCAC-5664-ED9D-2EFB32C27FB6}"/>
                    </a:ext>
                  </a:extLst>
                </p:cNvPr>
                <p:cNvPicPr/>
                <p:nvPr/>
              </p:nvPicPr>
              <p:blipFill>
                <a:blip r:embed="rId18"/>
                <a:stretch>
                  <a:fillRect/>
                </a:stretch>
              </p:blipFill>
              <p:spPr>
                <a:xfrm>
                  <a:off x="9387750" y="1785855"/>
                  <a:ext cx="136080" cy="2073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1" name="Ink 20">
                  <a:extLst>
                    <a:ext uri="{FF2B5EF4-FFF2-40B4-BE49-F238E27FC236}">
                      <a16:creationId xmlns:a16="http://schemas.microsoft.com/office/drawing/2014/main" id="{82F9CAC9-3952-35E6-C2E3-A833D75D0F0C}"/>
                    </a:ext>
                  </a:extLst>
                </p14:cNvPr>
                <p14:cNvContentPartPr/>
                <p14:nvPr/>
              </p14:nvContentPartPr>
              <p14:xfrm>
                <a:off x="9438150" y="1885935"/>
                <a:ext cx="39600" cy="360"/>
              </p14:xfrm>
            </p:contentPart>
          </mc:Choice>
          <mc:Fallback xmlns="">
            <p:pic>
              <p:nvPicPr>
                <p:cNvPr id="21" name="Ink 20">
                  <a:extLst>
                    <a:ext uri="{FF2B5EF4-FFF2-40B4-BE49-F238E27FC236}">
                      <a16:creationId xmlns:a16="http://schemas.microsoft.com/office/drawing/2014/main" id="{82F9CAC9-3952-35E6-C2E3-A833D75D0F0C}"/>
                    </a:ext>
                  </a:extLst>
                </p:cNvPr>
                <p:cNvPicPr/>
                <p:nvPr/>
              </p:nvPicPr>
              <p:blipFill>
                <a:blip r:embed="rId20"/>
                <a:stretch>
                  <a:fillRect/>
                </a:stretch>
              </p:blipFill>
              <p:spPr>
                <a:xfrm>
                  <a:off x="9432030" y="1879815"/>
                  <a:ext cx="5184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2" name="Ink 21">
                  <a:extLst>
                    <a:ext uri="{FF2B5EF4-FFF2-40B4-BE49-F238E27FC236}">
                      <a16:creationId xmlns:a16="http://schemas.microsoft.com/office/drawing/2014/main" id="{79803747-3F53-BBB8-2706-14F2071C3AC7}"/>
                    </a:ext>
                  </a:extLst>
                </p14:cNvPr>
                <p14:cNvContentPartPr/>
                <p14:nvPr/>
              </p14:nvContentPartPr>
              <p14:xfrm>
                <a:off x="9420150" y="1914375"/>
                <a:ext cx="360" cy="55080"/>
              </p14:xfrm>
            </p:contentPart>
          </mc:Choice>
          <mc:Fallback xmlns="">
            <p:pic>
              <p:nvPicPr>
                <p:cNvPr id="22" name="Ink 21">
                  <a:extLst>
                    <a:ext uri="{FF2B5EF4-FFF2-40B4-BE49-F238E27FC236}">
                      <a16:creationId xmlns:a16="http://schemas.microsoft.com/office/drawing/2014/main" id="{79803747-3F53-BBB8-2706-14F2071C3AC7}"/>
                    </a:ext>
                  </a:extLst>
                </p:cNvPr>
                <p:cNvPicPr/>
                <p:nvPr/>
              </p:nvPicPr>
              <p:blipFill>
                <a:blip r:embed="rId22"/>
                <a:stretch>
                  <a:fillRect/>
                </a:stretch>
              </p:blipFill>
              <p:spPr>
                <a:xfrm>
                  <a:off x="9414030" y="1908255"/>
                  <a:ext cx="12600" cy="6732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4" name="Ink 23">
                  <a:extLst>
                    <a:ext uri="{FF2B5EF4-FFF2-40B4-BE49-F238E27FC236}">
                      <a16:creationId xmlns:a16="http://schemas.microsoft.com/office/drawing/2014/main" id="{42E58592-60FD-6A88-489F-C9D53C2C8ED7}"/>
                    </a:ext>
                  </a:extLst>
                </p14:cNvPr>
                <p14:cNvContentPartPr/>
                <p14:nvPr/>
              </p14:nvContentPartPr>
              <p14:xfrm>
                <a:off x="9582150" y="1828695"/>
                <a:ext cx="104400" cy="113400"/>
              </p14:xfrm>
            </p:contentPart>
          </mc:Choice>
          <mc:Fallback xmlns="">
            <p:pic>
              <p:nvPicPr>
                <p:cNvPr id="24" name="Ink 23">
                  <a:extLst>
                    <a:ext uri="{FF2B5EF4-FFF2-40B4-BE49-F238E27FC236}">
                      <a16:creationId xmlns:a16="http://schemas.microsoft.com/office/drawing/2014/main" id="{42E58592-60FD-6A88-489F-C9D53C2C8ED7}"/>
                    </a:ext>
                  </a:extLst>
                </p:cNvPr>
                <p:cNvPicPr/>
                <p:nvPr/>
              </p:nvPicPr>
              <p:blipFill>
                <a:blip r:embed="rId24"/>
                <a:stretch>
                  <a:fillRect/>
                </a:stretch>
              </p:blipFill>
              <p:spPr>
                <a:xfrm>
                  <a:off x="9576030" y="1822575"/>
                  <a:ext cx="116640" cy="1256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5" name="Ink 24">
                  <a:extLst>
                    <a:ext uri="{FF2B5EF4-FFF2-40B4-BE49-F238E27FC236}">
                      <a16:creationId xmlns:a16="http://schemas.microsoft.com/office/drawing/2014/main" id="{89833170-CB0F-2432-C04A-76FB148E7B36}"/>
                    </a:ext>
                  </a:extLst>
                </p14:cNvPr>
                <p14:cNvContentPartPr/>
                <p14:nvPr/>
              </p14:nvContentPartPr>
              <p14:xfrm>
                <a:off x="9752070" y="1840935"/>
                <a:ext cx="109440" cy="114480"/>
              </p14:xfrm>
            </p:contentPart>
          </mc:Choice>
          <mc:Fallback xmlns="">
            <p:pic>
              <p:nvPicPr>
                <p:cNvPr id="25" name="Ink 24">
                  <a:extLst>
                    <a:ext uri="{FF2B5EF4-FFF2-40B4-BE49-F238E27FC236}">
                      <a16:creationId xmlns:a16="http://schemas.microsoft.com/office/drawing/2014/main" id="{89833170-CB0F-2432-C04A-76FB148E7B36}"/>
                    </a:ext>
                  </a:extLst>
                </p:cNvPr>
                <p:cNvPicPr/>
                <p:nvPr/>
              </p:nvPicPr>
              <p:blipFill>
                <a:blip r:embed="rId26"/>
                <a:stretch>
                  <a:fillRect/>
                </a:stretch>
              </p:blipFill>
              <p:spPr>
                <a:xfrm>
                  <a:off x="9745950" y="1834815"/>
                  <a:ext cx="121680" cy="12672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7" name="Ink 26">
                  <a:extLst>
                    <a:ext uri="{FF2B5EF4-FFF2-40B4-BE49-F238E27FC236}">
                      <a16:creationId xmlns:a16="http://schemas.microsoft.com/office/drawing/2014/main" id="{1CDF936B-D1A6-9179-8382-F744A3851A01}"/>
                    </a:ext>
                  </a:extLst>
                </p14:cNvPr>
                <p14:cNvContentPartPr/>
                <p14:nvPr/>
              </p14:nvContentPartPr>
              <p14:xfrm>
                <a:off x="9952950" y="1809615"/>
                <a:ext cx="20160" cy="167400"/>
              </p14:xfrm>
            </p:contentPart>
          </mc:Choice>
          <mc:Fallback xmlns="">
            <p:pic>
              <p:nvPicPr>
                <p:cNvPr id="27" name="Ink 26">
                  <a:extLst>
                    <a:ext uri="{FF2B5EF4-FFF2-40B4-BE49-F238E27FC236}">
                      <a16:creationId xmlns:a16="http://schemas.microsoft.com/office/drawing/2014/main" id="{1CDF936B-D1A6-9179-8382-F744A3851A01}"/>
                    </a:ext>
                  </a:extLst>
                </p:cNvPr>
                <p:cNvPicPr/>
                <p:nvPr/>
              </p:nvPicPr>
              <p:blipFill>
                <a:blip r:embed="rId28"/>
                <a:stretch>
                  <a:fillRect/>
                </a:stretch>
              </p:blipFill>
              <p:spPr>
                <a:xfrm>
                  <a:off x="9946830" y="1803495"/>
                  <a:ext cx="32400" cy="1796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9">
            <p14:nvContentPartPr>
              <p14:cNvPr id="29" name="Ink 28">
                <a:extLst>
                  <a:ext uri="{FF2B5EF4-FFF2-40B4-BE49-F238E27FC236}">
                    <a16:creationId xmlns:a16="http://schemas.microsoft.com/office/drawing/2014/main" id="{269C62B9-F660-36F3-CD33-DE29031CB64A}"/>
                  </a:ext>
                </a:extLst>
              </p14:cNvPr>
              <p14:cNvContentPartPr/>
              <p14:nvPr/>
            </p14:nvContentPartPr>
            <p14:xfrm>
              <a:off x="7686750" y="2485695"/>
              <a:ext cx="2407680" cy="86400"/>
            </p14:xfrm>
          </p:contentPart>
        </mc:Choice>
        <mc:Fallback xmlns="">
          <p:pic>
            <p:nvPicPr>
              <p:cNvPr id="29" name="Ink 28">
                <a:extLst>
                  <a:ext uri="{FF2B5EF4-FFF2-40B4-BE49-F238E27FC236}">
                    <a16:creationId xmlns:a16="http://schemas.microsoft.com/office/drawing/2014/main" id="{269C62B9-F660-36F3-CD33-DE29031CB64A}"/>
                  </a:ext>
                </a:extLst>
              </p:cNvPr>
              <p:cNvPicPr/>
              <p:nvPr/>
            </p:nvPicPr>
            <p:blipFill>
              <a:blip r:embed="rId30"/>
              <a:stretch>
                <a:fillRect/>
              </a:stretch>
            </p:blipFill>
            <p:spPr>
              <a:xfrm>
                <a:off x="7680630" y="2479575"/>
                <a:ext cx="241992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41" name="Ink 40">
                <a:extLst>
                  <a:ext uri="{FF2B5EF4-FFF2-40B4-BE49-F238E27FC236}">
                    <a16:creationId xmlns:a16="http://schemas.microsoft.com/office/drawing/2014/main" id="{574C6304-CA48-EE33-F79C-A5323E4CD4A3}"/>
                  </a:ext>
                </a:extLst>
              </p14:cNvPr>
              <p14:cNvContentPartPr/>
              <p14:nvPr/>
            </p14:nvContentPartPr>
            <p14:xfrm>
              <a:off x="10372350" y="2390655"/>
              <a:ext cx="10080" cy="45360"/>
            </p14:xfrm>
          </p:contentPart>
        </mc:Choice>
        <mc:Fallback xmlns="">
          <p:pic>
            <p:nvPicPr>
              <p:cNvPr id="41" name="Ink 40">
                <a:extLst>
                  <a:ext uri="{FF2B5EF4-FFF2-40B4-BE49-F238E27FC236}">
                    <a16:creationId xmlns:a16="http://schemas.microsoft.com/office/drawing/2014/main" id="{574C6304-CA48-EE33-F79C-A5323E4CD4A3}"/>
                  </a:ext>
                </a:extLst>
              </p:cNvPr>
              <p:cNvPicPr/>
              <p:nvPr/>
            </p:nvPicPr>
            <p:blipFill>
              <a:blip r:embed="rId32"/>
              <a:stretch>
                <a:fillRect/>
              </a:stretch>
            </p:blipFill>
            <p:spPr>
              <a:xfrm>
                <a:off x="10366230" y="2384535"/>
                <a:ext cx="22320" cy="57600"/>
              </a:xfrm>
              <a:prstGeom prst="rect">
                <a:avLst/>
              </a:prstGeom>
            </p:spPr>
          </p:pic>
        </mc:Fallback>
      </mc:AlternateContent>
      <p:grpSp>
        <p:nvGrpSpPr>
          <p:cNvPr id="55" name="Group 54">
            <a:extLst>
              <a:ext uri="{FF2B5EF4-FFF2-40B4-BE49-F238E27FC236}">
                <a16:creationId xmlns:a16="http://schemas.microsoft.com/office/drawing/2014/main" id="{566FF606-E99D-88BB-B1B1-9FDCA2E5C8AC}"/>
              </a:ext>
            </a:extLst>
          </p:cNvPr>
          <p:cNvGrpSpPr/>
          <p:nvPr/>
        </p:nvGrpSpPr>
        <p:grpSpPr>
          <a:xfrm>
            <a:off x="11125830" y="2152335"/>
            <a:ext cx="343440" cy="315720"/>
            <a:chOff x="11125830" y="2152335"/>
            <a:chExt cx="343440" cy="315720"/>
          </a:xfrm>
        </p:grpSpPr>
        <mc:AlternateContent xmlns:mc="http://schemas.openxmlformats.org/markup-compatibility/2006" xmlns:p14="http://schemas.microsoft.com/office/powerpoint/2010/main">
          <mc:Choice Requires="p14">
            <p:contentPart p14:bwMode="auto" r:id="rId33">
              <p14:nvContentPartPr>
                <p14:cNvPr id="49" name="Ink 48">
                  <a:extLst>
                    <a:ext uri="{FF2B5EF4-FFF2-40B4-BE49-F238E27FC236}">
                      <a16:creationId xmlns:a16="http://schemas.microsoft.com/office/drawing/2014/main" id="{78D8D82F-753A-02D8-325E-D5CA569C9A3A}"/>
                    </a:ext>
                  </a:extLst>
                </p14:cNvPr>
                <p14:cNvContentPartPr/>
                <p14:nvPr/>
              </p14:nvContentPartPr>
              <p14:xfrm>
                <a:off x="11125830" y="2333415"/>
                <a:ext cx="86760" cy="115200"/>
              </p14:xfrm>
            </p:contentPart>
          </mc:Choice>
          <mc:Fallback xmlns="">
            <p:pic>
              <p:nvPicPr>
                <p:cNvPr id="49" name="Ink 48">
                  <a:extLst>
                    <a:ext uri="{FF2B5EF4-FFF2-40B4-BE49-F238E27FC236}">
                      <a16:creationId xmlns:a16="http://schemas.microsoft.com/office/drawing/2014/main" id="{78D8D82F-753A-02D8-325E-D5CA569C9A3A}"/>
                    </a:ext>
                  </a:extLst>
                </p:cNvPr>
                <p:cNvPicPr/>
                <p:nvPr/>
              </p:nvPicPr>
              <p:blipFill>
                <a:blip r:embed="rId34"/>
                <a:stretch>
                  <a:fillRect/>
                </a:stretch>
              </p:blipFill>
              <p:spPr>
                <a:xfrm>
                  <a:off x="11119710" y="2327295"/>
                  <a:ext cx="99000" cy="12744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50" name="Ink 49">
                  <a:extLst>
                    <a:ext uri="{FF2B5EF4-FFF2-40B4-BE49-F238E27FC236}">
                      <a16:creationId xmlns:a16="http://schemas.microsoft.com/office/drawing/2014/main" id="{CE2806B2-86A7-35C8-91EA-4E735230CEF9}"/>
                    </a:ext>
                  </a:extLst>
                </p14:cNvPr>
                <p14:cNvContentPartPr/>
                <p14:nvPr/>
              </p14:nvContentPartPr>
              <p14:xfrm>
                <a:off x="11229870" y="2343135"/>
                <a:ext cx="145440" cy="121320"/>
              </p14:xfrm>
            </p:contentPart>
          </mc:Choice>
          <mc:Fallback xmlns="">
            <p:pic>
              <p:nvPicPr>
                <p:cNvPr id="50" name="Ink 49">
                  <a:extLst>
                    <a:ext uri="{FF2B5EF4-FFF2-40B4-BE49-F238E27FC236}">
                      <a16:creationId xmlns:a16="http://schemas.microsoft.com/office/drawing/2014/main" id="{CE2806B2-86A7-35C8-91EA-4E735230CEF9}"/>
                    </a:ext>
                  </a:extLst>
                </p:cNvPr>
                <p:cNvPicPr/>
                <p:nvPr/>
              </p:nvPicPr>
              <p:blipFill>
                <a:blip r:embed="rId36"/>
                <a:stretch>
                  <a:fillRect/>
                </a:stretch>
              </p:blipFill>
              <p:spPr>
                <a:xfrm>
                  <a:off x="11223750" y="2337015"/>
                  <a:ext cx="157680" cy="1335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51" name="Ink 50">
                  <a:extLst>
                    <a:ext uri="{FF2B5EF4-FFF2-40B4-BE49-F238E27FC236}">
                      <a16:creationId xmlns:a16="http://schemas.microsoft.com/office/drawing/2014/main" id="{EDA905CC-57CA-F627-F5A3-7C191B816113}"/>
                    </a:ext>
                  </a:extLst>
                </p14:cNvPr>
                <p14:cNvContentPartPr/>
                <p14:nvPr/>
              </p14:nvContentPartPr>
              <p14:xfrm>
                <a:off x="11345430" y="2152335"/>
                <a:ext cx="70200" cy="280800"/>
              </p14:xfrm>
            </p:contentPart>
          </mc:Choice>
          <mc:Fallback xmlns="">
            <p:pic>
              <p:nvPicPr>
                <p:cNvPr id="51" name="Ink 50">
                  <a:extLst>
                    <a:ext uri="{FF2B5EF4-FFF2-40B4-BE49-F238E27FC236}">
                      <a16:creationId xmlns:a16="http://schemas.microsoft.com/office/drawing/2014/main" id="{EDA905CC-57CA-F627-F5A3-7C191B816113}"/>
                    </a:ext>
                  </a:extLst>
                </p:cNvPr>
                <p:cNvPicPr/>
                <p:nvPr/>
              </p:nvPicPr>
              <p:blipFill>
                <a:blip r:embed="rId38"/>
                <a:stretch>
                  <a:fillRect/>
                </a:stretch>
              </p:blipFill>
              <p:spPr>
                <a:xfrm>
                  <a:off x="11339310" y="2146215"/>
                  <a:ext cx="82440" cy="29304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52" name="Ink 51">
                  <a:extLst>
                    <a:ext uri="{FF2B5EF4-FFF2-40B4-BE49-F238E27FC236}">
                      <a16:creationId xmlns:a16="http://schemas.microsoft.com/office/drawing/2014/main" id="{17A89639-33AE-02B1-630A-4862A2BF7A31}"/>
                    </a:ext>
                  </a:extLst>
                </p14:cNvPr>
                <p14:cNvContentPartPr/>
                <p14:nvPr/>
              </p14:nvContentPartPr>
              <p14:xfrm>
                <a:off x="11325270" y="2276175"/>
                <a:ext cx="144000" cy="10080"/>
              </p14:xfrm>
            </p:contentPart>
          </mc:Choice>
          <mc:Fallback xmlns="">
            <p:pic>
              <p:nvPicPr>
                <p:cNvPr id="52" name="Ink 51">
                  <a:extLst>
                    <a:ext uri="{FF2B5EF4-FFF2-40B4-BE49-F238E27FC236}">
                      <a16:creationId xmlns:a16="http://schemas.microsoft.com/office/drawing/2014/main" id="{17A89639-33AE-02B1-630A-4862A2BF7A31}"/>
                    </a:ext>
                  </a:extLst>
                </p:cNvPr>
                <p:cNvPicPr/>
                <p:nvPr/>
              </p:nvPicPr>
              <p:blipFill>
                <a:blip r:embed="rId40"/>
                <a:stretch>
                  <a:fillRect/>
                </a:stretch>
              </p:blipFill>
              <p:spPr>
                <a:xfrm>
                  <a:off x="11319150" y="2270055"/>
                  <a:ext cx="156240" cy="223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54" name="Ink 53">
                  <a:extLst>
                    <a:ext uri="{FF2B5EF4-FFF2-40B4-BE49-F238E27FC236}">
                      <a16:creationId xmlns:a16="http://schemas.microsoft.com/office/drawing/2014/main" id="{740C8E9D-E9F2-9575-86AF-FA1F606A1424}"/>
                    </a:ext>
                  </a:extLst>
                </p14:cNvPr>
                <p14:cNvContentPartPr/>
                <p14:nvPr/>
              </p14:nvContentPartPr>
              <p14:xfrm>
                <a:off x="11420310" y="2428815"/>
                <a:ext cx="16200" cy="39240"/>
              </p14:xfrm>
            </p:contentPart>
          </mc:Choice>
          <mc:Fallback xmlns="">
            <p:pic>
              <p:nvPicPr>
                <p:cNvPr id="54" name="Ink 53">
                  <a:extLst>
                    <a:ext uri="{FF2B5EF4-FFF2-40B4-BE49-F238E27FC236}">
                      <a16:creationId xmlns:a16="http://schemas.microsoft.com/office/drawing/2014/main" id="{740C8E9D-E9F2-9575-86AF-FA1F606A1424}"/>
                    </a:ext>
                  </a:extLst>
                </p:cNvPr>
                <p:cNvPicPr/>
                <p:nvPr/>
              </p:nvPicPr>
              <p:blipFill>
                <a:blip r:embed="rId42"/>
                <a:stretch>
                  <a:fillRect/>
                </a:stretch>
              </p:blipFill>
              <p:spPr>
                <a:xfrm>
                  <a:off x="11414190" y="2422695"/>
                  <a:ext cx="28440" cy="51480"/>
                </a:xfrm>
                <a:prstGeom prst="rect">
                  <a:avLst/>
                </a:prstGeom>
              </p:spPr>
            </p:pic>
          </mc:Fallback>
        </mc:AlternateContent>
      </p:grpSp>
      <p:grpSp>
        <p:nvGrpSpPr>
          <p:cNvPr id="57" name="Group 56">
            <a:extLst>
              <a:ext uri="{FF2B5EF4-FFF2-40B4-BE49-F238E27FC236}">
                <a16:creationId xmlns:a16="http://schemas.microsoft.com/office/drawing/2014/main" id="{ECBE918F-B34C-A624-7B41-88AB459946B3}"/>
              </a:ext>
            </a:extLst>
          </p:cNvPr>
          <p:cNvGrpSpPr/>
          <p:nvPr/>
        </p:nvGrpSpPr>
        <p:grpSpPr>
          <a:xfrm>
            <a:off x="9934590" y="2209575"/>
            <a:ext cx="1047600" cy="272160"/>
            <a:chOff x="9934590" y="2209575"/>
            <a:chExt cx="1047600" cy="272160"/>
          </a:xfrm>
        </p:grpSpPr>
        <mc:AlternateContent xmlns:mc="http://schemas.openxmlformats.org/markup-compatibility/2006" xmlns:p14="http://schemas.microsoft.com/office/powerpoint/2010/main">
          <mc:Choice Requires="p14">
            <p:contentPart p14:bwMode="auto" r:id="rId43">
              <p14:nvContentPartPr>
                <p14:cNvPr id="30" name="Ink 29">
                  <a:extLst>
                    <a:ext uri="{FF2B5EF4-FFF2-40B4-BE49-F238E27FC236}">
                      <a16:creationId xmlns:a16="http://schemas.microsoft.com/office/drawing/2014/main" id="{D90B2719-6CAF-D802-6649-489B4A62B0E6}"/>
                    </a:ext>
                  </a:extLst>
                </p14:cNvPr>
                <p14:cNvContentPartPr/>
                <p14:nvPr/>
              </p14:nvContentPartPr>
              <p14:xfrm>
                <a:off x="9934590" y="2247735"/>
                <a:ext cx="360" cy="142560"/>
              </p14:xfrm>
            </p:contentPart>
          </mc:Choice>
          <mc:Fallback xmlns="">
            <p:pic>
              <p:nvPicPr>
                <p:cNvPr id="30" name="Ink 29">
                  <a:extLst>
                    <a:ext uri="{FF2B5EF4-FFF2-40B4-BE49-F238E27FC236}">
                      <a16:creationId xmlns:a16="http://schemas.microsoft.com/office/drawing/2014/main" id="{D90B2719-6CAF-D802-6649-489B4A62B0E6}"/>
                    </a:ext>
                  </a:extLst>
                </p:cNvPr>
                <p:cNvPicPr/>
                <p:nvPr/>
              </p:nvPicPr>
              <p:blipFill>
                <a:blip r:embed="rId44"/>
                <a:stretch>
                  <a:fillRect/>
                </a:stretch>
              </p:blipFill>
              <p:spPr>
                <a:xfrm>
                  <a:off x="9928470" y="2241615"/>
                  <a:ext cx="12600" cy="15480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31" name="Ink 30">
                  <a:extLst>
                    <a:ext uri="{FF2B5EF4-FFF2-40B4-BE49-F238E27FC236}">
                      <a16:creationId xmlns:a16="http://schemas.microsoft.com/office/drawing/2014/main" id="{9B27E37D-94C4-5291-031F-E3E77DAF66D1}"/>
                    </a:ext>
                  </a:extLst>
                </p14:cNvPr>
                <p14:cNvContentPartPr/>
                <p14:nvPr/>
              </p14:nvContentPartPr>
              <p14:xfrm>
                <a:off x="9934590" y="2257455"/>
                <a:ext cx="71280" cy="182880"/>
              </p14:xfrm>
            </p:contentPart>
          </mc:Choice>
          <mc:Fallback xmlns="">
            <p:pic>
              <p:nvPicPr>
                <p:cNvPr id="31" name="Ink 30">
                  <a:extLst>
                    <a:ext uri="{FF2B5EF4-FFF2-40B4-BE49-F238E27FC236}">
                      <a16:creationId xmlns:a16="http://schemas.microsoft.com/office/drawing/2014/main" id="{9B27E37D-94C4-5291-031F-E3E77DAF66D1}"/>
                    </a:ext>
                  </a:extLst>
                </p:cNvPr>
                <p:cNvPicPr/>
                <p:nvPr/>
              </p:nvPicPr>
              <p:blipFill>
                <a:blip r:embed="rId46"/>
                <a:stretch>
                  <a:fillRect/>
                </a:stretch>
              </p:blipFill>
              <p:spPr>
                <a:xfrm>
                  <a:off x="9928470" y="2251335"/>
                  <a:ext cx="83520" cy="19512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32" name="Ink 31">
                  <a:extLst>
                    <a:ext uri="{FF2B5EF4-FFF2-40B4-BE49-F238E27FC236}">
                      <a16:creationId xmlns:a16="http://schemas.microsoft.com/office/drawing/2014/main" id="{33D6C592-8A5A-E4A7-71EE-EACAB657E7AA}"/>
                    </a:ext>
                  </a:extLst>
                </p14:cNvPr>
                <p14:cNvContentPartPr/>
                <p14:nvPr/>
              </p14:nvContentPartPr>
              <p14:xfrm>
                <a:off x="10038630" y="2346375"/>
                <a:ext cx="92520" cy="84240"/>
              </p14:xfrm>
            </p:contentPart>
          </mc:Choice>
          <mc:Fallback xmlns="">
            <p:pic>
              <p:nvPicPr>
                <p:cNvPr id="32" name="Ink 31">
                  <a:extLst>
                    <a:ext uri="{FF2B5EF4-FFF2-40B4-BE49-F238E27FC236}">
                      <a16:creationId xmlns:a16="http://schemas.microsoft.com/office/drawing/2014/main" id="{33D6C592-8A5A-E4A7-71EE-EACAB657E7AA}"/>
                    </a:ext>
                  </a:extLst>
                </p:cNvPr>
                <p:cNvPicPr/>
                <p:nvPr/>
              </p:nvPicPr>
              <p:blipFill>
                <a:blip r:embed="rId48"/>
                <a:stretch>
                  <a:fillRect/>
                </a:stretch>
              </p:blipFill>
              <p:spPr>
                <a:xfrm>
                  <a:off x="10032510" y="2340255"/>
                  <a:ext cx="104760" cy="9648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34" name="Ink 33">
                  <a:extLst>
                    <a:ext uri="{FF2B5EF4-FFF2-40B4-BE49-F238E27FC236}">
                      <a16:creationId xmlns:a16="http://schemas.microsoft.com/office/drawing/2014/main" id="{2E64D19C-B94B-6779-6254-0B8BCBF64750}"/>
                    </a:ext>
                  </a:extLst>
                </p14:cNvPr>
                <p14:cNvContentPartPr/>
                <p14:nvPr/>
              </p14:nvContentPartPr>
              <p14:xfrm>
                <a:off x="9934590" y="2371575"/>
                <a:ext cx="19080" cy="56520"/>
              </p14:xfrm>
            </p:contentPart>
          </mc:Choice>
          <mc:Fallback xmlns="">
            <p:pic>
              <p:nvPicPr>
                <p:cNvPr id="34" name="Ink 33">
                  <a:extLst>
                    <a:ext uri="{FF2B5EF4-FFF2-40B4-BE49-F238E27FC236}">
                      <a16:creationId xmlns:a16="http://schemas.microsoft.com/office/drawing/2014/main" id="{2E64D19C-B94B-6779-6254-0B8BCBF64750}"/>
                    </a:ext>
                  </a:extLst>
                </p:cNvPr>
                <p:cNvPicPr/>
                <p:nvPr/>
              </p:nvPicPr>
              <p:blipFill>
                <a:blip r:embed="rId50"/>
                <a:stretch>
                  <a:fillRect/>
                </a:stretch>
              </p:blipFill>
              <p:spPr>
                <a:xfrm>
                  <a:off x="9928470" y="2365455"/>
                  <a:ext cx="3132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36" name="Ink 35">
                  <a:extLst>
                    <a:ext uri="{FF2B5EF4-FFF2-40B4-BE49-F238E27FC236}">
                      <a16:creationId xmlns:a16="http://schemas.microsoft.com/office/drawing/2014/main" id="{404EB420-C2EA-2CE0-AB80-CBF8D249D4E9}"/>
                    </a:ext>
                  </a:extLst>
                </p14:cNvPr>
                <p14:cNvContentPartPr/>
                <p14:nvPr/>
              </p14:nvContentPartPr>
              <p14:xfrm>
                <a:off x="10181910" y="2344935"/>
                <a:ext cx="101880" cy="84240"/>
              </p14:xfrm>
            </p:contentPart>
          </mc:Choice>
          <mc:Fallback xmlns="">
            <p:pic>
              <p:nvPicPr>
                <p:cNvPr id="36" name="Ink 35">
                  <a:extLst>
                    <a:ext uri="{FF2B5EF4-FFF2-40B4-BE49-F238E27FC236}">
                      <a16:creationId xmlns:a16="http://schemas.microsoft.com/office/drawing/2014/main" id="{404EB420-C2EA-2CE0-AB80-CBF8D249D4E9}"/>
                    </a:ext>
                  </a:extLst>
                </p:cNvPr>
                <p:cNvPicPr/>
                <p:nvPr/>
              </p:nvPicPr>
              <p:blipFill>
                <a:blip r:embed="rId52"/>
                <a:stretch>
                  <a:fillRect/>
                </a:stretch>
              </p:blipFill>
              <p:spPr>
                <a:xfrm>
                  <a:off x="10175790" y="2338815"/>
                  <a:ext cx="114120" cy="9648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37" name="Ink 36">
                  <a:extLst>
                    <a:ext uri="{FF2B5EF4-FFF2-40B4-BE49-F238E27FC236}">
                      <a16:creationId xmlns:a16="http://schemas.microsoft.com/office/drawing/2014/main" id="{181BC6A7-ED45-74EF-C038-301C584A9D6F}"/>
                    </a:ext>
                  </a:extLst>
                </p14:cNvPr>
                <p14:cNvContentPartPr/>
                <p14:nvPr/>
              </p14:nvContentPartPr>
              <p14:xfrm>
                <a:off x="10296390" y="2257455"/>
                <a:ext cx="4320" cy="51120"/>
              </p14:xfrm>
            </p:contentPart>
          </mc:Choice>
          <mc:Fallback xmlns="">
            <p:pic>
              <p:nvPicPr>
                <p:cNvPr id="37" name="Ink 36">
                  <a:extLst>
                    <a:ext uri="{FF2B5EF4-FFF2-40B4-BE49-F238E27FC236}">
                      <a16:creationId xmlns:a16="http://schemas.microsoft.com/office/drawing/2014/main" id="{181BC6A7-ED45-74EF-C038-301C584A9D6F}"/>
                    </a:ext>
                  </a:extLst>
                </p:cNvPr>
                <p:cNvPicPr/>
                <p:nvPr/>
              </p:nvPicPr>
              <p:blipFill>
                <a:blip r:embed="rId54"/>
                <a:stretch>
                  <a:fillRect/>
                </a:stretch>
              </p:blipFill>
              <p:spPr>
                <a:xfrm>
                  <a:off x="10290270" y="2251335"/>
                  <a:ext cx="16560" cy="63360"/>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38" name="Ink 37">
                  <a:extLst>
                    <a:ext uri="{FF2B5EF4-FFF2-40B4-BE49-F238E27FC236}">
                      <a16:creationId xmlns:a16="http://schemas.microsoft.com/office/drawing/2014/main" id="{19729810-3A4C-C3AC-E6C4-78BD8EE1EC74}"/>
                    </a:ext>
                  </a:extLst>
                </p14:cNvPr>
                <p14:cNvContentPartPr/>
                <p14:nvPr/>
              </p14:nvContentPartPr>
              <p14:xfrm>
                <a:off x="10382070" y="2209575"/>
                <a:ext cx="360" cy="209520"/>
              </p14:xfrm>
            </p:contentPart>
          </mc:Choice>
          <mc:Fallback xmlns="">
            <p:pic>
              <p:nvPicPr>
                <p:cNvPr id="38" name="Ink 37">
                  <a:extLst>
                    <a:ext uri="{FF2B5EF4-FFF2-40B4-BE49-F238E27FC236}">
                      <a16:creationId xmlns:a16="http://schemas.microsoft.com/office/drawing/2014/main" id="{19729810-3A4C-C3AC-E6C4-78BD8EE1EC74}"/>
                    </a:ext>
                  </a:extLst>
                </p:cNvPr>
                <p:cNvPicPr/>
                <p:nvPr/>
              </p:nvPicPr>
              <p:blipFill>
                <a:blip r:embed="rId56"/>
                <a:stretch>
                  <a:fillRect/>
                </a:stretch>
              </p:blipFill>
              <p:spPr>
                <a:xfrm>
                  <a:off x="10375950" y="2203455"/>
                  <a:ext cx="12600" cy="22176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39" name="Ink 38">
                  <a:extLst>
                    <a:ext uri="{FF2B5EF4-FFF2-40B4-BE49-F238E27FC236}">
                      <a16:creationId xmlns:a16="http://schemas.microsoft.com/office/drawing/2014/main" id="{B0A21DE8-C05F-0A3F-5ABE-4416DC8CB6EA}"/>
                    </a:ext>
                  </a:extLst>
                </p14:cNvPr>
                <p14:cNvContentPartPr/>
                <p14:nvPr/>
              </p14:nvContentPartPr>
              <p14:xfrm>
                <a:off x="10324830" y="2333415"/>
                <a:ext cx="83880" cy="360"/>
              </p14:xfrm>
            </p:contentPart>
          </mc:Choice>
          <mc:Fallback xmlns="">
            <p:pic>
              <p:nvPicPr>
                <p:cNvPr id="39" name="Ink 38">
                  <a:extLst>
                    <a:ext uri="{FF2B5EF4-FFF2-40B4-BE49-F238E27FC236}">
                      <a16:creationId xmlns:a16="http://schemas.microsoft.com/office/drawing/2014/main" id="{B0A21DE8-C05F-0A3F-5ABE-4416DC8CB6EA}"/>
                    </a:ext>
                  </a:extLst>
                </p:cNvPr>
                <p:cNvPicPr/>
                <p:nvPr/>
              </p:nvPicPr>
              <p:blipFill>
                <a:blip r:embed="rId58"/>
                <a:stretch>
                  <a:fillRect/>
                </a:stretch>
              </p:blipFill>
              <p:spPr>
                <a:xfrm>
                  <a:off x="10318710" y="2327295"/>
                  <a:ext cx="9612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43" name="Ink 42">
                  <a:extLst>
                    <a:ext uri="{FF2B5EF4-FFF2-40B4-BE49-F238E27FC236}">
                      <a16:creationId xmlns:a16="http://schemas.microsoft.com/office/drawing/2014/main" id="{2D379408-32BC-45DD-027D-E778572ED308}"/>
                    </a:ext>
                  </a:extLst>
                </p14:cNvPr>
                <p14:cNvContentPartPr/>
                <p14:nvPr/>
              </p14:nvContentPartPr>
              <p14:xfrm>
                <a:off x="10543350" y="2228655"/>
                <a:ext cx="45360" cy="227520"/>
              </p14:xfrm>
            </p:contentPart>
          </mc:Choice>
          <mc:Fallback xmlns="">
            <p:pic>
              <p:nvPicPr>
                <p:cNvPr id="43" name="Ink 42">
                  <a:extLst>
                    <a:ext uri="{FF2B5EF4-FFF2-40B4-BE49-F238E27FC236}">
                      <a16:creationId xmlns:a16="http://schemas.microsoft.com/office/drawing/2014/main" id="{2D379408-32BC-45DD-027D-E778572ED308}"/>
                    </a:ext>
                  </a:extLst>
                </p:cNvPr>
                <p:cNvPicPr/>
                <p:nvPr/>
              </p:nvPicPr>
              <p:blipFill>
                <a:blip r:embed="rId60"/>
                <a:stretch>
                  <a:fillRect/>
                </a:stretch>
              </p:blipFill>
              <p:spPr>
                <a:xfrm>
                  <a:off x="10537230" y="2222535"/>
                  <a:ext cx="57600" cy="23976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44" name="Ink 43">
                  <a:extLst>
                    <a:ext uri="{FF2B5EF4-FFF2-40B4-BE49-F238E27FC236}">
                      <a16:creationId xmlns:a16="http://schemas.microsoft.com/office/drawing/2014/main" id="{D233F38E-1219-96E6-B844-9D7C7387AEC4}"/>
                    </a:ext>
                  </a:extLst>
                </p14:cNvPr>
                <p14:cNvContentPartPr/>
                <p14:nvPr/>
              </p14:nvContentPartPr>
              <p14:xfrm>
                <a:off x="10620030" y="2371575"/>
                <a:ext cx="79560" cy="99000"/>
              </p14:xfrm>
            </p:contentPart>
          </mc:Choice>
          <mc:Fallback xmlns="">
            <p:pic>
              <p:nvPicPr>
                <p:cNvPr id="44" name="Ink 43">
                  <a:extLst>
                    <a:ext uri="{FF2B5EF4-FFF2-40B4-BE49-F238E27FC236}">
                      <a16:creationId xmlns:a16="http://schemas.microsoft.com/office/drawing/2014/main" id="{D233F38E-1219-96E6-B844-9D7C7387AEC4}"/>
                    </a:ext>
                  </a:extLst>
                </p:cNvPr>
                <p:cNvPicPr/>
                <p:nvPr/>
              </p:nvPicPr>
              <p:blipFill>
                <a:blip r:embed="rId62"/>
                <a:stretch>
                  <a:fillRect/>
                </a:stretch>
              </p:blipFill>
              <p:spPr>
                <a:xfrm>
                  <a:off x="10613910" y="2365455"/>
                  <a:ext cx="91800" cy="11124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45" name="Ink 44">
                  <a:extLst>
                    <a:ext uri="{FF2B5EF4-FFF2-40B4-BE49-F238E27FC236}">
                      <a16:creationId xmlns:a16="http://schemas.microsoft.com/office/drawing/2014/main" id="{CF52FD3F-522D-3086-51FB-3EECF9E17877}"/>
                    </a:ext>
                  </a:extLst>
                </p14:cNvPr>
                <p14:cNvContentPartPr/>
                <p14:nvPr/>
              </p14:nvContentPartPr>
              <p14:xfrm>
                <a:off x="10733070" y="2328735"/>
                <a:ext cx="91440" cy="153000"/>
              </p14:xfrm>
            </p:contentPart>
          </mc:Choice>
          <mc:Fallback xmlns="">
            <p:pic>
              <p:nvPicPr>
                <p:cNvPr id="45" name="Ink 44">
                  <a:extLst>
                    <a:ext uri="{FF2B5EF4-FFF2-40B4-BE49-F238E27FC236}">
                      <a16:creationId xmlns:a16="http://schemas.microsoft.com/office/drawing/2014/main" id="{CF52FD3F-522D-3086-51FB-3EECF9E17877}"/>
                    </a:ext>
                  </a:extLst>
                </p:cNvPr>
                <p:cNvPicPr/>
                <p:nvPr/>
              </p:nvPicPr>
              <p:blipFill>
                <a:blip r:embed="rId64"/>
                <a:stretch>
                  <a:fillRect/>
                </a:stretch>
              </p:blipFill>
              <p:spPr>
                <a:xfrm>
                  <a:off x="10726950" y="2322615"/>
                  <a:ext cx="103680" cy="16524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46" name="Ink 45">
                  <a:extLst>
                    <a:ext uri="{FF2B5EF4-FFF2-40B4-BE49-F238E27FC236}">
                      <a16:creationId xmlns:a16="http://schemas.microsoft.com/office/drawing/2014/main" id="{D00281A9-C15A-C7C6-CEF4-5B2AB129C684}"/>
                    </a:ext>
                  </a:extLst>
                </p14:cNvPr>
                <p14:cNvContentPartPr/>
                <p14:nvPr/>
              </p14:nvContentPartPr>
              <p14:xfrm>
                <a:off x="10753590" y="2409735"/>
                <a:ext cx="35640" cy="360"/>
              </p14:xfrm>
            </p:contentPart>
          </mc:Choice>
          <mc:Fallback xmlns="">
            <p:pic>
              <p:nvPicPr>
                <p:cNvPr id="46" name="Ink 45">
                  <a:extLst>
                    <a:ext uri="{FF2B5EF4-FFF2-40B4-BE49-F238E27FC236}">
                      <a16:creationId xmlns:a16="http://schemas.microsoft.com/office/drawing/2014/main" id="{D00281A9-C15A-C7C6-CEF4-5B2AB129C684}"/>
                    </a:ext>
                  </a:extLst>
                </p:cNvPr>
                <p:cNvPicPr/>
                <p:nvPr/>
              </p:nvPicPr>
              <p:blipFill>
                <a:blip r:embed="rId66"/>
                <a:stretch>
                  <a:fillRect/>
                </a:stretch>
              </p:blipFill>
              <p:spPr>
                <a:xfrm>
                  <a:off x="10747470" y="2403615"/>
                  <a:ext cx="4788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47" name="Ink 46">
                  <a:extLst>
                    <a:ext uri="{FF2B5EF4-FFF2-40B4-BE49-F238E27FC236}">
                      <a16:creationId xmlns:a16="http://schemas.microsoft.com/office/drawing/2014/main" id="{CF9D7B81-C463-B2E3-6DCC-67320482A61B}"/>
                    </a:ext>
                  </a:extLst>
                </p14:cNvPr>
                <p14:cNvContentPartPr/>
                <p14:nvPr/>
              </p14:nvContentPartPr>
              <p14:xfrm>
                <a:off x="10877070" y="2335575"/>
                <a:ext cx="97920" cy="122040"/>
              </p14:xfrm>
            </p:contentPart>
          </mc:Choice>
          <mc:Fallback xmlns="">
            <p:pic>
              <p:nvPicPr>
                <p:cNvPr id="47" name="Ink 46">
                  <a:extLst>
                    <a:ext uri="{FF2B5EF4-FFF2-40B4-BE49-F238E27FC236}">
                      <a16:creationId xmlns:a16="http://schemas.microsoft.com/office/drawing/2014/main" id="{CF9D7B81-C463-B2E3-6DCC-67320482A61B}"/>
                    </a:ext>
                  </a:extLst>
                </p:cNvPr>
                <p:cNvPicPr/>
                <p:nvPr/>
              </p:nvPicPr>
              <p:blipFill>
                <a:blip r:embed="rId68"/>
                <a:stretch>
                  <a:fillRect/>
                </a:stretch>
              </p:blipFill>
              <p:spPr>
                <a:xfrm>
                  <a:off x="10870950" y="2329455"/>
                  <a:ext cx="110160" cy="134280"/>
                </a:xfrm>
                <a:prstGeom prst="rect">
                  <a:avLst/>
                </a:prstGeom>
              </p:spPr>
            </p:pic>
          </mc:Fallback>
        </mc:AlternateContent>
        <mc:AlternateContent xmlns:mc="http://schemas.openxmlformats.org/markup-compatibility/2006" xmlns:p14="http://schemas.microsoft.com/office/powerpoint/2010/main">
          <mc:Choice Requires="p14">
            <p:contentPart p14:bwMode="auto" r:id="rId69">
              <p14:nvContentPartPr>
                <p14:cNvPr id="56" name="Ink 55">
                  <a:extLst>
                    <a:ext uri="{FF2B5EF4-FFF2-40B4-BE49-F238E27FC236}">
                      <a16:creationId xmlns:a16="http://schemas.microsoft.com/office/drawing/2014/main" id="{A641A3CD-9825-D92B-FAE3-10D218E519F0}"/>
                    </a:ext>
                  </a:extLst>
                </p14:cNvPr>
                <p14:cNvContentPartPr/>
                <p14:nvPr/>
              </p14:nvContentPartPr>
              <p14:xfrm>
                <a:off x="10968510" y="2319735"/>
                <a:ext cx="13680" cy="71280"/>
              </p14:xfrm>
            </p:contentPart>
          </mc:Choice>
          <mc:Fallback xmlns="">
            <p:pic>
              <p:nvPicPr>
                <p:cNvPr id="56" name="Ink 55">
                  <a:extLst>
                    <a:ext uri="{FF2B5EF4-FFF2-40B4-BE49-F238E27FC236}">
                      <a16:creationId xmlns:a16="http://schemas.microsoft.com/office/drawing/2014/main" id="{A641A3CD-9825-D92B-FAE3-10D218E519F0}"/>
                    </a:ext>
                  </a:extLst>
                </p:cNvPr>
                <p:cNvPicPr/>
                <p:nvPr/>
              </p:nvPicPr>
              <p:blipFill>
                <a:blip r:embed="rId70"/>
                <a:stretch>
                  <a:fillRect/>
                </a:stretch>
              </p:blipFill>
              <p:spPr>
                <a:xfrm>
                  <a:off x="10962390" y="2313615"/>
                  <a:ext cx="25920" cy="83520"/>
                </a:xfrm>
                <a:prstGeom prst="rect">
                  <a:avLst/>
                </a:prstGeom>
              </p:spPr>
            </p:pic>
          </mc:Fallback>
        </mc:AlternateContent>
      </p:grpSp>
    </p:spTree>
    <p:extLst>
      <p:ext uri="{BB962C8B-B14F-4D97-AF65-F5344CB8AC3E}">
        <p14:creationId xmlns:p14="http://schemas.microsoft.com/office/powerpoint/2010/main" val="11765020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27EFA-871C-9878-F865-ECB6E7734961}"/>
              </a:ext>
            </a:extLst>
          </p:cNvPr>
          <p:cNvSpPr>
            <a:spLocks noGrp="1"/>
          </p:cNvSpPr>
          <p:nvPr>
            <p:ph type="title"/>
          </p:nvPr>
        </p:nvSpPr>
        <p:spPr/>
        <p:txBody>
          <a:bodyPr/>
          <a:lstStyle/>
          <a:p>
            <a:r>
              <a:rPr lang="en-US" dirty="0"/>
              <a:t>CSV Menu – SCF Hub</a:t>
            </a:r>
          </a:p>
        </p:txBody>
      </p:sp>
      <p:sp>
        <p:nvSpPr>
          <p:cNvPr id="5" name="Date Placeholder 4">
            <a:extLst>
              <a:ext uri="{FF2B5EF4-FFF2-40B4-BE49-F238E27FC236}">
                <a16:creationId xmlns:a16="http://schemas.microsoft.com/office/drawing/2014/main" id="{5396A778-8048-BA60-0E31-A588CA77106B}"/>
              </a:ext>
            </a:extLst>
          </p:cNvPr>
          <p:cNvSpPr>
            <a:spLocks noGrp="1"/>
          </p:cNvSpPr>
          <p:nvPr>
            <p:ph type="dt" sz="half" idx="10"/>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7" name="Picture 6">
            <a:extLst>
              <a:ext uri="{FF2B5EF4-FFF2-40B4-BE49-F238E27FC236}">
                <a16:creationId xmlns:a16="http://schemas.microsoft.com/office/drawing/2014/main" id="{8185446B-DFF2-9947-889D-540683148351}"/>
              </a:ext>
            </a:extLst>
          </p:cNvPr>
          <p:cNvPicPr>
            <a:picLocks noChangeAspect="1"/>
          </p:cNvPicPr>
          <p:nvPr/>
        </p:nvPicPr>
        <p:blipFill>
          <a:blip r:embed="rId2"/>
          <a:stretch>
            <a:fillRect/>
          </a:stretch>
        </p:blipFill>
        <p:spPr>
          <a:xfrm>
            <a:off x="6183313" y="505122"/>
            <a:ext cx="5793707" cy="5484743"/>
          </a:xfrm>
          <a:prstGeom prst="rect">
            <a:avLst/>
          </a:prstGeom>
        </p:spPr>
      </p:pic>
      <p:sp>
        <p:nvSpPr>
          <p:cNvPr id="9" name="TextBox 8">
            <a:extLst>
              <a:ext uri="{FF2B5EF4-FFF2-40B4-BE49-F238E27FC236}">
                <a16:creationId xmlns:a16="http://schemas.microsoft.com/office/drawing/2014/main" id="{C24E9E4D-6576-F786-3D68-319199A13E2C}"/>
              </a:ext>
            </a:extLst>
          </p:cNvPr>
          <p:cNvSpPr txBox="1"/>
          <p:nvPr/>
        </p:nvSpPr>
        <p:spPr>
          <a:xfrm>
            <a:off x="33223" y="776231"/>
            <a:ext cx="5862720" cy="3816429"/>
          </a:xfrm>
          <a:prstGeom prst="rect">
            <a:avLst/>
          </a:prstGeom>
          <a:noFill/>
        </p:spPr>
        <p:txBody>
          <a:bodyPr wrap="square" rtlCol="0">
            <a:spAutoFit/>
          </a:bodyPr>
          <a:lstStyle/>
          <a:p>
            <a:pPr marL="285744" indent="-285744" defTabSz="914377">
              <a:buFont typeface="Arial" panose="020B0604020202020204" pitchFamily="34" charset="0"/>
              <a:buChar char="•"/>
            </a:pPr>
            <a:r>
              <a:rPr lang="en-US" sz="1600" dirty="0">
                <a:solidFill>
                  <a:prstClr val="black"/>
                </a:solidFill>
                <a:latin typeface="Arial" panose="020B0604020202020204"/>
              </a:rPr>
              <a:t>Specific to offices identified as SCF, Tier 1 or Tier 2 Hub</a:t>
            </a:r>
          </a:p>
          <a:p>
            <a:pPr marL="742932" lvl="1" indent="-285744" defTabSz="914377">
              <a:buFont typeface="Courier New" panose="02070309020205020404" pitchFamily="49" charset="0"/>
              <a:buChar char="o"/>
            </a:pPr>
            <a:r>
              <a:rPr lang="en-US" sz="1400" b="1" dirty="0">
                <a:solidFill>
                  <a:prstClr val="black"/>
                </a:solidFill>
                <a:latin typeface="Arial" panose="020B0604020202020204"/>
              </a:rPr>
              <a:t>SCF-</a:t>
            </a:r>
            <a:r>
              <a:rPr lang="en-US" sz="1400" dirty="0">
                <a:solidFill>
                  <a:prstClr val="black"/>
                </a:solidFill>
                <a:latin typeface="Arial" panose="020B0604020202020204"/>
              </a:rPr>
              <a:t> site identified by plant processing of automated mail service to 3-digit service area.  SCFs are predefined by Headquarters.  Field users cannot add or delete an SCF Hub</a:t>
            </a:r>
          </a:p>
          <a:p>
            <a:pPr marL="742932" lvl="1" indent="-285744" defTabSz="914377">
              <a:buFont typeface="Courier New" panose="02070309020205020404" pitchFamily="49" charset="0"/>
              <a:buChar char="o"/>
            </a:pPr>
            <a:r>
              <a:rPr lang="en-US" sz="1400" b="1" dirty="0">
                <a:solidFill>
                  <a:prstClr val="black"/>
                </a:solidFill>
                <a:latin typeface="Arial" panose="020B0604020202020204"/>
              </a:rPr>
              <a:t>Tier 1 Hub- </a:t>
            </a:r>
            <a:r>
              <a:rPr lang="en-US" sz="1400" dirty="0">
                <a:solidFill>
                  <a:prstClr val="black"/>
                </a:solidFill>
                <a:latin typeface="Arial" panose="020B0604020202020204"/>
              </a:rPr>
              <a:t>site identified by requirement of further breakdown of mail "hashing mail" to 3-digit service area </a:t>
            </a:r>
          </a:p>
          <a:p>
            <a:pPr marL="742932" lvl="1" indent="-285744" defTabSz="914377">
              <a:buFont typeface="Courier New" panose="02070309020205020404" pitchFamily="49" charset="0"/>
              <a:buChar char="o"/>
            </a:pPr>
            <a:r>
              <a:rPr lang="en-US" sz="1400" b="1" dirty="0">
                <a:solidFill>
                  <a:prstClr val="black"/>
                </a:solidFill>
                <a:latin typeface="Arial" panose="020B0604020202020204"/>
              </a:rPr>
              <a:t>Tier 2 Hub- </a:t>
            </a:r>
            <a:r>
              <a:rPr lang="en-US" sz="1400" dirty="0">
                <a:solidFill>
                  <a:prstClr val="black"/>
                </a:solidFill>
                <a:latin typeface="Arial" panose="020B0604020202020204"/>
              </a:rPr>
              <a:t>site identified by requirement of NO further breakdown of mail to 3-digit service area, ONLY Dock Transfer</a:t>
            </a:r>
          </a:p>
          <a:p>
            <a:pPr marL="285744" indent="-285744" defTabSz="914377">
              <a:buFont typeface="Arial" panose="020B0604020202020204" pitchFamily="34" charset="0"/>
              <a:buChar char="•"/>
            </a:pPr>
            <a:endParaRPr lang="en-US" sz="1600" dirty="0">
              <a:solidFill>
                <a:prstClr val="black"/>
              </a:solidFill>
              <a:latin typeface="Arial" panose="020B0604020202020204"/>
            </a:endParaRPr>
          </a:p>
          <a:p>
            <a:pPr marL="285744" indent="-285744" defTabSz="914377">
              <a:buFont typeface="Arial" panose="020B0604020202020204" pitchFamily="34" charset="0"/>
              <a:buChar char="•"/>
            </a:pPr>
            <a:r>
              <a:rPr lang="en-US" sz="1600" dirty="0">
                <a:solidFill>
                  <a:prstClr val="black"/>
                </a:solidFill>
                <a:latin typeface="Arial" panose="020B0604020202020204"/>
              </a:rPr>
              <a:t>Summary of workload and earned hours associated with SCF/Hub activities</a:t>
            </a:r>
          </a:p>
          <a:p>
            <a:pPr marL="285744" indent="-285744" defTabSz="914377">
              <a:buFont typeface="Arial" panose="020B0604020202020204" pitchFamily="34" charset="0"/>
              <a:buChar char="•"/>
            </a:pPr>
            <a:endParaRPr lang="en-US" sz="1600" dirty="0">
              <a:solidFill>
                <a:prstClr val="black"/>
              </a:solidFill>
              <a:latin typeface="Arial" panose="020B0604020202020204"/>
            </a:endParaRPr>
          </a:p>
          <a:p>
            <a:pPr marL="285744" indent="-285744" defTabSz="914377">
              <a:buFont typeface="Arial" panose="020B0604020202020204" pitchFamily="34" charset="0"/>
              <a:buChar char="•"/>
            </a:pPr>
            <a:r>
              <a:rPr lang="en-US" sz="1600" dirty="0">
                <a:solidFill>
                  <a:prstClr val="black"/>
                </a:solidFill>
                <a:latin typeface="Arial" panose="020B0604020202020204"/>
              </a:rPr>
              <a:t>Provides total earned minutes per day for LDC 43A and LDC 48 workload</a:t>
            </a:r>
          </a:p>
          <a:p>
            <a:pPr marL="285744" indent="-285744" defTabSz="914377">
              <a:buFont typeface="Arial" panose="020B0604020202020204" pitchFamily="34" charset="0"/>
              <a:buChar char="•"/>
            </a:pPr>
            <a:endParaRPr lang="en-US" sz="1600" dirty="0">
              <a:solidFill>
                <a:prstClr val="black"/>
              </a:solidFill>
              <a:latin typeface="Arial" panose="020B0604020202020204"/>
            </a:endParaRPr>
          </a:p>
          <a:p>
            <a:pPr marL="285744" indent="-285744" defTabSz="914377">
              <a:buFont typeface="Arial" panose="020B0604020202020204" pitchFamily="34" charset="0"/>
              <a:buChar char="•"/>
            </a:pPr>
            <a:r>
              <a:rPr lang="en-US" sz="1600" dirty="0">
                <a:solidFill>
                  <a:prstClr val="black"/>
                </a:solidFill>
                <a:latin typeface="Arial" panose="020B0604020202020204"/>
              </a:rPr>
              <a:t>Provides total daily earned minutes and hours per day</a:t>
            </a:r>
          </a:p>
        </p:txBody>
      </p:sp>
      <p:sp>
        <p:nvSpPr>
          <p:cNvPr id="3" name="TextBox 2">
            <a:extLst>
              <a:ext uri="{FF2B5EF4-FFF2-40B4-BE49-F238E27FC236}">
                <a16:creationId xmlns:a16="http://schemas.microsoft.com/office/drawing/2014/main" id="{915EDAB2-0848-E97B-FB67-DC724E70299A}"/>
              </a:ext>
            </a:extLst>
          </p:cNvPr>
          <p:cNvSpPr txBox="1"/>
          <p:nvPr/>
        </p:nvSpPr>
        <p:spPr>
          <a:xfrm>
            <a:off x="33223" y="4603292"/>
            <a:ext cx="5862720" cy="1323439"/>
          </a:xfrm>
          <a:prstGeom prst="rect">
            <a:avLst/>
          </a:prstGeom>
          <a:noFill/>
        </p:spPr>
        <p:txBody>
          <a:bodyPr wrap="square" rtlCol="0">
            <a:spAutoFit/>
          </a:bodyPr>
          <a:lstStyle/>
          <a:p>
            <a:pPr defTabSz="914377"/>
            <a:r>
              <a:rPr lang="en-US" sz="1600" b="1" dirty="0">
                <a:solidFill>
                  <a:prstClr val="black"/>
                </a:solidFill>
                <a:latin typeface="Arial" panose="020B0604020202020204"/>
              </a:rPr>
              <a:t>Note: </a:t>
            </a:r>
            <a:r>
              <a:rPr lang="en-US" sz="1600" dirty="0">
                <a:solidFill>
                  <a:prstClr val="black"/>
                </a:solidFill>
                <a:latin typeface="Arial" panose="020B0604020202020204"/>
              </a:rPr>
              <a:t>We currently have </a:t>
            </a:r>
            <a:r>
              <a:rPr lang="en-US" sz="1600" dirty="0">
                <a:solidFill>
                  <a:prstClr val="black"/>
                </a:solidFill>
                <a:highlight>
                  <a:srgbClr val="FFFF00"/>
                </a:highlight>
                <a:latin typeface="Arial" panose="020B0604020202020204"/>
              </a:rPr>
              <a:t>1079</a:t>
            </a:r>
            <a:r>
              <a:rPr lang="en-US" sz="1600" dirty="0">
                <a:solidFill>
                  <a:prstClr val="black"/>
                </a:solidFill>
                <a:latin typeface="Arial" panose="020B0604020202020204"/>
              </a:rPr>
              <a:t> SCF Hubs across the country</a:t>
            </a:r>
          </a:p>
          <a:p>
            <a:pPr defTabSz="914377"/>
            <a:r>
              <a:rPr lang="en-US" sz="1600" b="1" dirty="0">
                <a:solidFill>
                  <a:prstClr val="black"/>
                </a:solidFill>
                <a:latin typeface="Arial" panose="020B0604020202020204"/>
              </a:rPr>
              <a:t>Atlantic - 445</a:t>
            </a:r>
          </a:p>
          <a:p>
            <a:pPr defTabSz="914377"/>
            <a:r>
              <a:rPr lang="en-US" sz="1600" b="1" dirty="0">
                <a:solidFill>
                  <a:prstClr val="black"/>
                </a:solidFill>
                <a:latin typeface="Arial" panose="020B0604020202020204"/>
              </a:rPr>
              <a:t>Central – 329</a:t>
            </a:r>
          </a:p>
          <a:p>
            <a:pPr defTabSz="914377"/>
            <a:r>
              <a:rPr lang="en-US" sz="1600" b="1" dirty="0">
                <a:solidFill>
                  <a:prstClr val="black"/>
                </a:solidFill>
                <a:latin typeface="Arial" panose="020B0604020202020204"/>
              </a:rPr>
              <a:t>Westpac – 163</a:t>
            </a:r>
          </a:p>
          <a:p>
            <a:pPr defTabSz="914377"/>
            <a:r>
              <a:rPr lang="en-US" sz="1600" b="1" dirty="0">
                <a:solidFill>
                  <a:prstClr val="black"/>
                </a:solidFill>
                <a:latin typeface="Arial" panose="020B0604020202020204"/>
              </a:rPr>
              <a:t>Southern - 142</a:t>
            </a:r>
          </a:p>
        </p:txBody>
      </p:sp>
      <p:sp>
        <p:nvSpPr>
          <p:cNvPr id="4" name="Rectangle 3">
            <a:extLst>
              <a:ext uri="{FF2B5EF4-FFF2-40B4-BE49-F238E27FC236}">
                <a16:creationId xmlns:a16="http://schemas.microsoft.com/office/drawing/2014/main" id="{75C7FE0D-0ADD-543E-120B-CF63361E70FB}"/>
              </a:ext>
            </a:extLst>
          </p:cNvPr>
          <p:cNvSpPr/>
          <p:nvPr/>
        </p:nvSpPr>
        <p:spPr>
          <a:xfrm>
            <a:off x="33223" y="4581974"/>
            <a:ext cx="5862720" cy="1286540"/>
          </a:xfrm>
          <a:prstGeom prst="rect">
            <a:avLst/>
          </a:prstGeom>
          <a:noFill/>
          <a:ln w="38100">
            <a:solidFill>
              <a:srgbClr val="FD0B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Arial" panose="020B0604020202020204"/>
            </a:endParaRP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F0837594-85FF-2DFF-CFCF-2896BBBF70F5}"/>
                  </a:ext>
                </a:extLst>
              </p14:cNvPr>
              <p14:cNvContentPartPr/>
              <p14:nvPr/>
            </p14:nvContentPartPr>
            <p14:xfrm>
              <a:off x="6038310" y="256935"/>
              <a:ext cx="37080" cy="180000"/>
            </p14:xfrm>
          </p:contentPart>
        </mc:Choice>
        <mc:Fallback xmlns="">
          <p:pic>
            <p:nvPicPr>
              <p:cNvPr id="6" name="Ink 5">
                <a:extLst>
                  <a:ext uri="{FF2B5EF4-FFF2-40B4-BE49-F238E27FC236}">
                    <a16:creationId xmlns:a16="http://schemas.microsoft.com/office/drawing/2014/main" id="{F0837594-85FF-2DFF-CFCF-2896BBBF70F5}"/>
                  </a:ext>
                </a:extLst>
              </p:cNvPr>
              <p:cNvPicPr/>
              <p:nvPr/>
            </p:nvPicPr>
            <p:blipFill>
              <a:blip r:embed="rId4"/>
              <a:stretch>
                <a:fillRect/>
              </a:stretch>
            </p:blipFill>
            <p:spPr>
              <a:xfrm>
                <a:off x="6032190" y="250815"/>
                <a:ext cx="49320" cy="1922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Ink 7">
                <a:extLst>
                  <a:ext uri="{FF2B5EF4-FFF2-40B4-BE49-F238E27FC236}">
                    <a16:creationId xmlns:a16="http://schemas.microsoft.com/office/drawing/2014/main" id="{AF039CD4-C903-5DAC-8B8E-53838722A9BB}"/>
                  </a:ext>
                </a:extLst>
              </p14:cNvPr>
              <p14:cNvContentPartPr/>
              <p14:nvPr/>
            </p14:nvContentPartPr>
            <p14:xfrm>
              <a:off x="6162150" y="231735"/>
              <a:ext cx="200160" cy="174600"/>
            </p14:xfrm>
          </p:contentPart>
        </mc:Choice>
        <mc:Fallback xmlns="">
          <p:pic>
            <p:nvPicPr>
              <p:cNvPr id="8" name="Ink 7">
                <a:extLst>
                  <a:ext uri="{FF2B5EF4-FFF2-40B4-BE49-F238E27FC236}">
                    <a16:creationId xmlns:a16="http://schemas.microsoft.com/office/drawing/2014/main" id="{AF039CD4-C903-5DAC-8B8E-53838722A9BB}"/>
                  </a:ext>
                </a:extLst>
              </p:cNvPr>
              <p:cNvPicPr/>
              <p:nvPr/>
            </p:nvPicPr>
            <p:blipFill>
              <a:blip r:embed="rId6"/>
              <a:stretch>
                <a:fillRect/>
              </a:stretch>
            </p:blipFill>
            <p:spPr>
              <a:xfrm>
                <a:off x="6156030" y="225615"/>
                <a:ext cx="212400" cy="186840"/>
              </a:xfrm>
              <a:prstGeom prst="rect">
                <a:avLst/>
              </a:prstGeom>
            </p:spPr>
          </p:pic>
        </mc:Fallback>
      </mc:AlternateContent>
      <p:grpSp>
        <p:nvGrpSpPr>
          <p:cNvPr id="21" name="Group 20">
            <a:extLst>
              <a:ext uri="{FF2B5EF4-FFF2-40B4-BE49-F238E27FC236}">
                <a16:creationId xmlns:a16="http://schemas.microsoft.com/office/drawing/2014/main" id="{5ADA15A7-5B15-2549-B0E0-584EEF10B6BC}"/>
              </a:ext>
            </a:extLst>
          </p:cNvPr>
          <p:cNvGrpSpPr/>
          <p:nvPr/>
        </p:nvGrpSpPr>
        <p:grpSpPr>
          <a:xfrm>
            <a:off x="6572190" y="228495"/>
            <a:ext cx="918360" cy="247680"/>
            <a:chOff x="6572190" y="228495"/>
            <a:chExt cx="918360" cy="247680"/>
          </a:xfrm>
        </p:grpSpPr>
        <mc:AlternateContent xmlns:mc="http://schemas.openxmlformats.org/markup-compatibility/2006" xmlns:p14="http://schemas.microsoft.com/office/powerpoint/2010/main">
          <mc:Choice Requires="p14">
            <p:contentPart p14:bwMode="auto" r:id="rId7">
              <p14:nvContentPartPr>
                <p14:cNvPr id="10" name="Ink 9">
                  <a:extLst>
                    <a:ext uri="{FF2B5EF4-FFF2-40B4-BE49-F238E27FC236}">
                      <a16:creationId xmlns:a16="http://schemas.microsoft.com/office/drawing/2014/main" id="{AE43560A-82D3-76EB-A112-E87331975500}"/>
                    </a:ext>
                  </a:extLst>
                </p14:cNvPr>
                <p14:cNvContentPartPr/>
                <p14:nvPr/>
              </p14:nvContentPartPr>
              <p14:xfrm>
                <a:off x="6572190" y="264135"/>
                <a:ext cx="268560" cy="201240"/>
              </p14:xfrm>
            </p:contentPart>
          </mc:Choice>
          <mc:Fallback xmlns="">
            <p:pic>
              <p:nvPicPr>
                <p:cNvPr id="10" name="Ink 9">
                  <a:extLst>
                    <a:ext uri="{FF2B5EF4-FFF2-40B4-BE49-F238E27FC236}">
                      <a16:creationId xmlns:a16="http://schemas.microsoft.com/office/drawing/2014/main" id="{AE43560A-82D3-76EB-A112-E87331975500}"/>
                    </a:ext>
                  </a:extLst>
                </p:cNvPr>
                <p:cNvPicPr/>
                <p:nvPr/>
              </p:nvPicPr>
              <p:blipFill>
                <a:blip r:embed="rId8"/>
                <a:stretch>
                  <a:fillRect/>
                </a:stretch>
              </p:blipFill>
              <p:spPr>
                <a:xfrm>
                  <a:off x="6566070" y="258015"/>
                  <a:ext cx="280800" cy="2134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1" name="Ink 10">
                  <a:extLst>
                    <a:ext uri="{FF2B5EF4-FFF2-40B4-BE49-F238E27FC236}">
                      <a16:creationId xmlns:a16="http://schemas.microsoft.com/office/drawing/2014/main" id="{BF6FBB1A-CB98-13B4-E43D-408A4D182668}"/>
                    </a:ext>
                  </a:extLst>
                </p14:cNvPr>
                <p14:cNvContentPartPr/>
                <p14:nvPr/>
              </p14:nvContentPartPr>
              <p14:xfrm>
                <a:off x="6952350" y="313815"/>
                <a:ext cx="110880" cy="136440"/>
              </p14:xfrm>
            </p:contentPart>
          </mc:Choice>
          <mc:Fallback xmlns="">
            <p:pic>
              <p:nvPicPr>
                <p:cNvPr id="11" name="Ink 10">
                  <a:extLst>
                    <a:ext uri="{FF2B5EF4-FFF2-40B4-BE49-F238E27FC236}">
                      <a16:creationId xmlns:a16="http://schemas.microsoft.com/office/drawing/2014/main" id="{BF6FBB1A-CB98-13B4-E43D-408A4D182668}"/>
                    </a:ext>
                  </a:extLst>
                </p:cNvPr>
                <p:cNvPicPr/>
                <p:nvPr/>
              </p:nvPicPr>
              <p:blipFill>
                <a:blip r:embed="rId10"/>
                <a:stretch>
                  <a:fillRect/>
                </a:stretch>
              </p:blipFill>
              <p:spPr>
                <a:xfrm>
                  <a:off x="6946230" y="307695"/>
                  <a:ext cx="123120" cy="1486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3" name="Ink 12">
                  <a:extLst>
                    <a:ext uri="{FF2B5EF4-FFF2-40B4-BE49-F238E27FC236}">
                      <a16:creationId xmlns:a16="http://schemas.microsoft.com/office/drawing/2014/main" id="{D263FE62-041E-46E6-1812-8F1995849506}"/>
                    </a:ext>
                  </a:extLst>
                </p14:cNvPr>
                <p14:cNvContentPartPr/>
                <p14:nvPr/>
              </p14:nvContentPartPr>
              <p14:xfrm>
                <a:off x="7162590" y="306975"/>
                <a:ext cx="184320" cy="169200"/>
              </p14:xfrm>
            </p:contentPart>
          </mc:Choice>
          <mc:Fallback xmlns="">
            <p:pic>
              <p:nvPicPr>
                <p:cNvPr id="13" name="Ink 12">
                  <a:extLst>
                    <a:ext uri="{FF2B5EF4-FFF2-40B4-BE49-F238E27FC236}">
                      <a16:creationId xmlns:a16="http://schemas.microsoft.com/office/drawing/2014/main" id="{D263FE62-041E-46E6-1812-8F1995849506}"/>
                    </a:ext>
                  </a:extLst>
                </p:cNvPr>
                <p:cNvPicPr/>
                <p:nvPr/>
              </p:nvPicPr>
              <p:blipFill>
                <a:blip r:embed="rId12"/>
                <a:stretch>
                  <a:fillRect/>
                </a:stretch>
              </p:blipFill>
              <p:spPr>
                <a:xfrm>
                  <a:off x="7156470" y="300855"/>
                  <a:ext cx="196560" cy="1814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4" name="Ink 13">
                  <a:extLst>
                    <a:ext uri="{FF2B5EF4-FFF2-40B4-BE49-F238E27FC236}">
                      <a16:creationId xmlns:a16="http://schemas.microsoft.com/office/drawing/2014/main" id="{D9134C3D-3ACA-29B0-4EE1-415613BDB303}"/>
                    </a:ext>
                  </a:extLst>
                </p14:cNvPr>
                <p14:cNvContentPartPr/>
                <p14:nvPr/>
              </p14:nvContentPartPr>
              <p14:xfrm>
                <a:off x="7362750" y="228495"/>
                <a:ext cx="61560" cy="219240"/>
              </p14:xfrm>
            </p:contentPart>
          </mc:Choice>
          <mc:Fallback xmlns="">
            <p:pic>
              <p:nvPicPr>
                <p:cNvPr id="14" name="Ink 13">
                  <a:extLst>
                    <a:ext uri="{FF2B5EF4-FFF2-40B4-BE49-F238E27FC236}">
                      <a16:creationId xmlns:a16="http://schemas.microsoft.com/office/drawing/2014/main" id="{D9134C3D-3ACA-29B0-4EE1-415613BDB303}"/>
                    </a:ext>
                  </a:extLst>
                </p:cNvPr>
                <p:cNvPicPr/>
                <p:nvPr/>
              </p:nvPicPr>
              <p:blipFill>
                <a:blip r:embed="rId14"/>
                <a:stretch>
                  <a:fillRect/>
                </a:stretch>
              </p:blipFill>
              <p:spPr>
                <a:xfrm>
                  <a:off x="7356630" y="222375"/>
                  <a:ext cx="73800" cy="23148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5" name="Ink 14">
                  <a:extLst>
                    <a:ext uri="{FF2B5EF4-FFF2-40B4-BE49-F238E27FC236}">
                      <a16:creationId xmlns:a16="http://schemas.microsoft.com/office/drawing/2014/main" id="{8125BDA8-E424-AC6C-B99E-D4E9BA15CEF0}"/>
                    </a:ext>
                  </a:extLst>
                </p14:cNvPr>
                <p14:cNvContentPartPr/>
                <p14:nvPr/>
              </p14:nvContentPartPr>
              <p14:xfrm>
                <a:off x="7429350" y="304455"/>
                <a:ext cx="61200" cy="86400"/>
              </p14:xfrm>
            </p:contentPart>
          </mc:Choice>
          <mc:Fallback xmlns="">
            <p:pic>
              <p:nvPicPr>
                <p:cNvPr id="15" name="Ink 14">
                  <a:extLst>
                    <a:ext uri="{FF2B5EF4-FFF2-40B4-BE49-F238E27FC236}">
                      <a16:creationId xmlns:a16="http://schemas.microsoft.com/office/drawing/2014/main" id="{8125BDA8-E424-AC6C-B99E-D4E9BA15CEF0}"/>
                    </a:ext>
                  </a:extLst>
                </p:cNvPr>
                <p:cNvPicPr/>
                <p:nvPr/>
              </p:nvPicPr>
              <p:blipFill>
                <a:blip r:embed="rId16"/>
                <a:stretch>
                  <a:fillRect/>
                </a:stretch>
              </p:blipFill>
              <p:spPr>
                <a:xfrm>
                  <a:off x="7423230" y="298335"/>
                  <a:ext cx="73440" cy="986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6" name="Ink 15">
                  <a:extLst>
                    <a:ext uri="{FF2B5EF4-FFF2-40B4-BE49-F238E27FC236}">
                      <a16:creationId xmlns:a16="http://schemas.microsoft.com/office/drawing/2014/main" id="{9D607A83-0627-B403-6BD2-BF0D286A7248}"/>
                    </a:ext>
                  </a:extLst>
                </p14:cNvPr>
                <p14:cNvContentPartPr/>
                <p14:nvPr/>
              </p14:nvContentPartPr>
              <p14:xfrm>
                <a:off x="7448430" y="380775"/>
                <a:ext cx="39960" cy="72360"/>
              </p14:xfrm>
            </p:contentPart>
          </mc:Choice>
          <mc:Fallback xmlns="">
            <p:pic>
              <p:nvPicPr>
                <p:cNvPr id="16" name="Ink 15">
                  <a:extLst>
                    <a:ext uri="{FF2B5EF4-FFF2-40B4-BE49-F238E27FC236}">
                      <a16:creationId xmlns:a16="http://schemas.microsoft.com/office/drawing/2014/main" id="{9D607A83-0627-B403-6BD2-BF0D286A7248}"/>
                    </a:ext>
                  </a:extLst>
                </p:cNvPr>
                <p:cNvPicPr/>
                <p:nvPr/>
              </p:nvPicPr>
              <p:blipFill>
                <a:blip r:embed="rId18"/>
                <a:stretch>
                  <a:fillRect/>
                </a:stretch>
              </p:blipFill>
              <p:spPr>
                <a:xfrm>
                  <a:off x="7442310" y="374655"/>
                  <a:ext cx="52200" cy="84600"/>
                </a:xfrm>
                <a:prstGeom prst="rect">
                  <a:avLst/>
                </a:prstGeom>
              </p:spPr>
            </p:pic>
          </mc:Fallback>
        </mc:AlternateContent>
      </p:grpSp>
      <p:grpSp>
        <p:nvGrpSpPr>
          <p:cNvPr id="31" name="Group 30">
            <a:extLst>
              <a:ext uri="{FF2B5EF4-FFF2-40B4-BE49-F238E27FC236}">
                <a16:creationId xmlns:a16="http://schemas.microsoft.com/office/drawing/2014/main" id="{EF3DC097-B394-B6FF-D7C8-30AF70DD3C13}"/>
              </a:ext>
            </a:extLst>
          </p:cNvPr>
          <p:cNvGrpSpPr/>
          <p:nvPr/>
        </p:nvGrpSpPr>
        <p:grpSpPr>
          <a:xfrm>
            <a:off x="7723830" y="243615"/>
            <a:ext cx="1278360" cy="292320"/>
            <a:chOff x="7723830" y="243615"/>
            <a:chExt cx="1278360" cy="292320"/>
          </a:xfrm>
        </p:grpSpPr>
        <mc:AlternateContent xmlns:mc="http://schemas.openxmlformats.org/markup-compatibility/2006" xmlns:p14="http://schemas.microsoft.com/office/powerpoint/2010/main">
          <mc:Choice Requires="p14">
            <p:contentPart p14:bwMode="auto" r:id="rId19">
              <p14:nvContentPartPr>
                <p14:cNvPr id="17" name="Ink 16">
                  <a:extLst>
                    <a:ext uri="{FF2B5EF4-FFF2-40B4-BE49-F238E27FC236}">
                      <a16:creationId xmlns:a16="http://schemas.microsoft.com/office/drawing/2014/main" id="{B47B6901-9889-89A1-DF70-7586CBAB5EA4}"/>
                    </a:ext>
                  </a:extLst>
                </p14:cNvPr>
                <p14:cNvContentPartPr/>
                <p14:nvPr/>
              </p14:nvContentPartPr>
              <p14:xfrm>
                <a:off x="7723830" y="243615"/>
                <a:ext cx="125640" cy="213480"/>
              </p14:xfrm>
            </p:contentPart>
          </mc:Choice>
          <mc:Fallback xmlns="">
            <p:pic>
              <p:nvPicPr>
                <p:cNvPr id="17" name="Ink 16">
                  <a:extLst>
                    <a:ext uri="{FF2B5EF4-FFF2-40B4-BE49-F238E27FC236}">
                      <a16:creationId xmlns:a16="http://schemas.microsoft.com/office/drawing/2014/main" id="{B47B6901-9889-89A1-DF70-7586CBAB5EA4}"/>
                    </a:ext>
                  </a:extLst>
                </p:cNvPr>
                <p:cNvPicPr/>
                <p:nvPr/>
              </p:nvPicPr>
              <p:blipFill>
                <a:blip r:embed="rId20"/>
                <a:stretch>
                  <a:fillRect/>
                </a:stretch>
              </p:blipFill>
              <p:spPr>
                <a:xfrm>
                  <a:off x="7717710" y="237495"/>
                  <a:ext cx="137880" cy="2257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8" name="Ink 17">
                  <a:extLst>
                    <a:ext uri="{FF2B5EF4-FFF2-40B4-BE49-F238E27FC236}">
                      <a16:creationId xmlns:a16="http://schemas.microsoft.com/office/drawing/2014/main" id="{FB2B3D28-A1F7-D628-D248-B12DB0C2CC16}"/>
                    </a:ext>
                  </a:extLst>
                </p14:cNvPr>
                <p14:cNvContentPartPr/>
                <p14:nvPr/>
              </p14:nvContentPartPr>
              <p14:xfrm>
                <a:off x="7734270" y="363855"/>
                <a:ext cx="93240" cy="7920"/>
              </p14:xfrm>
            </p:contentPart>
          </mc:Choice>
          <mc:Fallback xmlns="">
            <p:pic>
              <p:nvPicPr>
                <p:cNvPr id="18" name="Ink 17">
                  <a:extLst>
                    <a:ext uri="{FF2B5EF4-FFF2-40B4-BE49-F238E27FC236}">
                      <a16:creationId xmlns:a16="http://schemas.microsoft.com/office/drawing/2014/main" id="{FB2B3D28-A1F7-D628-D248-B12DB0C2CC16}"/>
                    </a:ext>
                  </a:extLst>
                </p:cNvPr>
                <p:cNvPicPr/>
                <p:nvPr/>
              </p:nvPicPr>
              <p:blipFill>
                <a:blip r:embed="rId22"/>
                <a:stretch>
                  <a:fillRect/>
                </a:stretch>
              </p:blipFill>
              <p:spPr>
                <a:xfrm>
                  <a:off x="7728150" y="357735"/>
                  <a:ext cx="105480" cy="2016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9" name="Ink 18">
                  <a:extLst>
                    <a:ext uri="{FF2B5EF4-FFF2-40B4-BE49-F238E27FC236}">
                      <a16:creationId xmlns:a16="http://schemas.microsoft.com/office/drawing/2014/main" id="{6D3DF27F-56DE-D621-80AF-B4B3484A30C0}"/>
                    </a:ext>
                  </a:extLst>
                </p14:cNvPr>
                <p14:cNvContentPartPr/>
                <p14:nvPr/>
              </p14:nvContentPartPr>
              <p14:xfrm>
                <a:off x="7905270" y="341175"/>
                <a:ext cx="161280" cy="144720"/>
              </p14:xfrm>
            </p:contentPart>
          </mc:Choice>
          <mc:Fallback xmlns="">
            <p:pic>
              <p:nvPicPr>
                <p:cNvPr id="19" name="Ink 18">
                  <a:extLst>
                    <a:ext uri="{FF2B5EF4-FFF2-40B4-BE49-F238E27FC236}">
                      <a16:creationId xmlns:a16="http://schemas.microsoft.com/office/drawing/2014/main" id="{6D3DF27F-56DE-D621-80AF-B4B3484A30C0}"/>
                    </a:ext>
                  </a:extLst>
                </p:cNvPr>
                <p:cNvPicPr/>
                <p:nvPr/>
              </p:nvPicPr>
              <p:blipFill>
                <a:blip r:embed="rId24"/>
                <a:stretch>
                  <a:fillRect/>
                </a:stretch>
              </p:blipFill>
              <p:spPr>
                <a:xfrm>
                  <a:off x="7899150" y="335055"/>
                  <a:ext cx="173520" cy="1569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2" name="Ink 21">
                  <a:extLst>
                    <a:ext uri="{FF2B5EF4-FFF2-40B4-BE49-F238E27FC236}">
                      <a16:creationId xmlns:a16="http://schemas.microsoft.com/office/drawing/2014/main" id="{F0AB49A9-23BE-AD4E-7144-3AE9AF7F2B11}"/>
                    </a:ext>
                  </a:extLst>
                </p14:cNvPr>
                <p14:cNvContentPartPr/>
                <p14:nvPr/>
              </p14:nvContentPartPr>
              <p14:xfrm>
                <a:off x="8114070" y="305535"/>
                <a:ext cx="120960" cy="151920"/>
              </p14:xfrm>
            </p:contentPart>
          </mc:Choice>
          <mc:Fallback xmlns="">
            <p:pic>
              <p:nvPicPr>
                <p:cNvPr id="22" name="Ink 21">
                  <a:extLst>
                    <a:ext uri="{FF2B5EF4-FFF2-40B4-BE49-F238E27FC236}">
                      <a16:creationId xmlns:a16="http://schemas.microsoft.com/office/drawing/2014/main" id="{F0AB49A9-23BE-AD4E-7144-3AE9AF7F2B11}"/>
                    </a:ext>
                  </a:extLst>
                </p:cNvPr>
                <p:cNvPicPr/>
                <p:nvPr/>
              </p:nvPicPr>
              <p:blipFill>
                <a:blip r:embed="rId26"/>
                <a:stretch>
                  <a:fillRect/>
                </a:stretch>
              </p:blipFill>
              <p:spPr>
                <a:xfrm>
                  <a:off x="8107950" y="299415"/>
                  <a:ext cx="133200" cy="16416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3" name="Ink 22">
                  <a:extLst>
                    <a:ext uri="{FF2B5EF4-FFF2-40B4-BE49-F238E27FC236}">
                      <a16:creationId xmlns:a16="http://schemas.microsoft.com/office/drawing/2014/main" id="{E7399C9F-3385-3FAE-66C2-D34E5EF97E0A}"/>
                    </a:ext>
                  </a:extLst>
                </p14:cNvPr>
                <p14:cNvContentPartPr/>
                <p14:nvPr/>
              </p14:nvContentPartPr>
              <p14:xfrm>
                <a:off x="8115150" y="399495"/>
                <a:ext cx="170280" cy="10440"/>
              </p14:xfrm>
            </p:contentPart>
          </mc:Choice>
          <mc:Fallback xmlns="">
            <p:pic>
              <p:nvPicPr>
                <p:cNvPr id="23" name="Ink 22">
                  <a:extLst>
                    <a:ext uri="{FF2B5EF4-FFF2-40B4-BE49-F238E27FC236}">
                      <a16:creationId xmlns:a16="http://schemas.microsoft.com/office/drawing/2014/main" id="{E7399C9F-3385-3FAE-66C2-D34E5EF97E0A}"/>
                    </a:ext>
                  </a:extLst>
                </p:cNvPr>
                <p:cNvPicPr/>
                <p:nvPr/>
              </p:nvPicPr>
              <p:blipFill>
                <a:blip r:embed="rId28"/>
                <a:stretch>
                  <a:fillRect/>
                </a:stretch>
              </p:blipFill>
              <p:spPr>
                <a:xfrm>
                  <a:off x="8109030" y="393375"/>
                  <a:ext cx="182520" cy="2268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5" name="Ink 24">
                  <a:extLst>
                    <a:ext uri="{FF2B5EF4-FFF2-40B4-BE49-F238E27FC236}">
                      <a16:creationId xmlns:a16="http://schemas.microsoft.com/office/drawing/2014/main" id="{EF7F3FCB-7EEF-0840-5311-4B42D1E4F713}"/>
                    </a:ext>
                  </a:extLst>
                </p14:cNvPr>
                <p14:cNvContentPartPr/>
                <p14:nvPr/>
              </p14:nvContentPartPr>
              <p14:xfrm>
                <a:off x="8305230" y="247575"/>
                <a:ext cx="29880" cy="227880"/>
              </p14:xfrm>
            </p:contentPart>
          </mc:Choice>
          <mc:Fallback xmlns="">
            <p:pic>
              <p:nvPicPr>
                <p:cNvPr id="25" name="Ink 24">
                  <a:extLst>
                    <a:ext uri="{FF2B5EF4-FFF2-40B4-BE49-F238E27FC236}">
                      <a16:creationId xmlns:a16="http://schemas.microsoft.com/office/drawing/2014/main" id="{EF7F3FCB-7EEF-0840-5311-4B42D1E4F713}"/>
                    </a:ext>
                  </a:extLst>
                </p:cNvPr>
                <p:cNvPicPr/>
                <p:nvPr/>
              </p:nvPicPr>
              <p:blipFill>
                <a:blip r:embed="rId30"/>
                <a:stretch>
                  <a:fillRect/>
                </a:stretch>
              </p:blipFill>
              <p:spPr>
                <a:xfrm>
                  <a:off x="8299110" y="241455"/>
                  <a:ext cx="42120" cy="24012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6" name="Ink 25">
                  <a:extLst>
                    <a:ext uri="{FF2B5EF4-FFF2-40B4-BE49-F238E27FC236}">
                      <a16:creationId xmlns:a16="http://schemas.microsoft.com/office/drawing/2014/main" id="{6CF282F5-C13D-17D4-1793-AD029958EB6D}"/>
                    </a:ext>
                  </a:extLst>
                </p14:cNvPr>
                <p14:cNvContentPartPr/>
                <p14:nvPr/>
              </p14:nvContentPartPr>
              <p14:xfrm>
                <a:off x="8429430" y="352335"/>
                <a:ext cx="24840" cy="78840"/>
              </p14:xfrm>
            </p:contentPart>
          </mc:Choice>
          <mc:Fallback xmlns="">
            <p:pic>
              <p:nvPicPr>
                <p:cNvPr id="26" name="Ink 25">
                  <a:extLst>
                    <a:ext uri="{FF2B5EF4-FFF2-40B4-BE49-F238E27FC236}">
                      <a16:creationId xmlns:a16="http://schemas.microsoft.com/office/drawing/2014/main" id="{6CF282F5-C13D-17D4-1793-AD029958EB6D}"/>
                    </a:ext>
                  </a:extLst>
                </p:cNvPr>
                <p:cNvPicPr/>
                <p:nvPr/>
              </p:nvPicPr>
              <p:blipFill>
                <a:blip r:embed="rId32"/>
                <a:stretch>
                  <a:fillRect/>
                </a:stretch>
              </p:blipFill>
              <p:spPr>
                <a:xfrm>
                  <a:off x="8423310" y="346215"/>
                  <a:ext cx="37080" cy="9108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7" name="Ink 26">
                  <a:extLst>
                    <a:ext uri="{FF2B5EF4-FFF2-40B4-BE49-F238E27FC236}">
                      <a16:creationId xmlns:a16="http://schemas.microsoft.com/office/drawing/2014/main" id="{41275995-C1BA-522A-278C-BAF332ECF7EB}"/>
                    </a:ext>
                  </a:extLst>
                </p14:cNvPr>
                <p14:cNvContentPartPr/>
                <p14:nvPr/>
              </p14:nvContentPartPr>
              <p14:xfrm>
                <a:off x="8451390" y="371415"/>
                <a:ext cx="54720" cy="164520"/>
              </p14:xfrm>
            </p:contentPart>
          </mc:Choice>
          <mc:Fallback xmlns="">
            <p:pic>
              <p:nvPicPr>
                <p:cNvPr id="27" name="Ink 26">
                  <a:extLst>
                    <a:ext uri="{FF2B5EF4-FFF2-40B4-BE49-F238E27FC236}">
                      <a16:creationId xmlns:a16="http://schemas.microsoft.com/office/drawing/2014/main" id="{41275995-C1BA-522A-278C-BAF332ECF7EB}"/>
                    </a:ext>
                  </a:extLst>
                </p:cNvPr>
                <p:cNvPicPr/>
                <p:nvPr/>
              </p:nvPicPr>
              <p:blipFill>
                <a:blip r:embed="rId34"/>
                <a:stretch>
                  <a:fillRect/>
                </a:stretch>
              </p:blipFill>
              <p:spPr>
                <a:xfrm>
                  <a:off x="8445270" y="365295"/>
                  <a:ext cx="66960" cy="1767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8" name="Ink 27">
                  <a:extLst>
                    <a:ext uri="{FF2B5EF4-FFF2-40B4-BE49-F238E27FC236}">
                      <a16:creationId xmlns:a16="http://schemas.microsoft.com/office/drawing/2014/main" id="{E4A02290-D16E-B6E7-12C0-F939501206E6}"/>
                    </a:ext>
                  </a:extLst>
                </p14:cNvPr>
                <p14:cNvContentPartPr/>
                <p14:nvPr/>
              </p14:nvContentPartPr>
              <p14:xfrm>
                <a:off x="8582790" y="353775"/>
                <a:ext cx="97200" cy="142200"/>
              </p14:xfrm>
            </p:contentPart>
          </mc:Choice>
          <mc:Fallback xmlns="">
            <p:pic>
              <p:nvPicPr>
                <p:cNvPr id="28" name="Ink 27">
                  <a:extLst>
                    <a:ext uri="{FF2B5EF4-FFF2-40B4-BE49-F238E27FC236}">
                      <a16:creationId xmlns:a16="http://schemas.microsoft.com/office/drawing/2014/main" id="{E4A02290-D16E-B6E7-12C0-F939501206E6}"/>
                    </a:ext>
                  </a:extLst>
                </p:cNvPr>
                <p:cNvPicPr/>
                <p:nvPr/>
              </p:nvPicPr>
              <p:blipFill>
                <a:blip r:embed="rId36"/>
                <a:stretch>
                  <a:fillRect/>
                </a:stretch>
              </p:blipFill>
              <p:spPr>
                <a:xfrm>
                  <a:off x="8576670" y="347655"/>
                  <a:ext cx="109440" cy="15444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29" name="Ink 28">
                  <a:extLst>
                    <a:ext uri="{FF2B5EF4-FFF2-40B4-BE49-F238E27FC236}">
                      <a16:creationId xmlns:a16="http://schemas.microsoft.com/office/drawing/2014/main" id="{C714D13B-860C-ECB3-0B16-2AB0FE1769F3}"/>
                    </a:ext>
                  </a:extLst>
                </p14:cNvPr>
                <p14:cNvContentPartPr/>
                <p14:nvPr/>
              </p14:nvContentPartPr>
              <p14:xfrm>
                <a:off x="8734350" y="323535"/>
                <a:ext cx="28440" cy="171720"/>
              </p14:xfrm>
            </p:contentPart>
          </mc:Choice>
          <mc:Fallback xmlns="">
            <p:pic>
              <p:nvPicPr>
                <p:cNvPr id="29" name="Ink 28">
                  <a:extLst>
                    <a:ext uri="{FF2B5EF4-FFF2-40B4-BE49-F238E27FC236}">
                      <a16:creationId xmlns:a16="http://schemas.microsoft.com/office/drawing/2014/main" id="{C714D13B-860C-ECB3-0B16-2AB0FE1769F3}"/>
                    </a:ext>
                  </a:extLst>
                </p:cNvPr>
                <p:cNvPicPr/>
                <p:nvPr/>
              </p:nvPicPr>
              <p:blipFill>
                <a:blip r:embed="rId38"/>
                <a:stretch>
                  <a:fillRect/>
                </a:stretch>
              </p:blipFill>
              <p:spPr>
                <a:xfrm>
                  <a:off x="8728230" y="317415"/>
                  <a:ext cx="40680" cy="18396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30" name="Ink 29">
                  <a:extLst>
                    <a:ext uri="{FF2B5EF4-FFF2-40B4-BE49-F238E27FC236}">
                      <a16:creationId xmlns:a16="http://schemas.microsoft.com/office/drawing/2014/main" id="{BCF54FB6-C909-04B6-BB85-AA211737FBC5}"/>
                    </a:ext>
                  </a:extLst>
                </p14:cNvPr>
                <p14:cNvContentPartPr/>
                <p14:nvPr/>
              </p14:nvContentPartPr>
              <p14:xfrm>
                <a:off x="8876190" y="342255"/>
                <a:ext cx="126000" cy="142560"/>
              </p14:xfrm>
            </p:contentPart>
          </mc:Choice>
          <mc:Fallback xmlns="">
            <p:pic>
              <p:nvPicPr>
                <p:cNvPr id="30" name="Ink 29">
                  <a:extLst>
                    <a:ext uri="{FF2B5EF4-FFF2-40B4-BE49-F238E27FC236}">
                      <a16:creationId xmlns:a16="http://schemas.microsoft.com/office/drawing/2014/main" id="{BCF54FB6-C909-04B6-BB85-AA211737FBC5}"/>
                    </a:ext>
                  </a:extLst>
                </p:cNvPr>
                <p:cNvPicPr/>
                <p:nvPr/>
              </p:nvPicPr>
              <p:blipFill>
                <a:blip r:embed="rId40"/>
                <a:stretch>
                  <a:fillRect/>
                </a:stretch>
              </p:blipFill>
              <p:spPr>
                <a:xfrm>
                  <a:off x="8870070" y="336135"/>
                  <a:ext cx="138240" cy="1548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41">
            <p14:nvContentPartPr>
              <p14:cNvPr id="32" name="Ink 31">
                <a:extLst>
                  <a:ext uri="{FF2B5EF4-FFF2-40B4-BE49-F238E27FC236}">
                    <a16:creationId xmlns:a16="http://schemas.microsoft.com/office/drawing/2014/main" id="{53CB7FB4-8B2B-EBE3-2C83-1C8CBBE00818}"/>
                  </a:ext>
                </a:extLst>
              </p14:cNvPr>
              <p14:cNvContentPartPr/>
              <p14:nvPr/>
            </p14:nvContentPartPr>
            <p14:xfrm>
              <a:off x="8838030" y="3171135"/>
              <a:ext cx="821160" cy="2455200"/>
            </p14:xfrm>
          </p:contentPart>
        </mc:Choice>
        <mc:Fallback xmlns="">
          <p:pic>
            <p:nvPicPr>
              <p:cNvPr id="32" name="Ink 31">
                <a:extLst>
                  <a:ext uri="{FF2B5EF4-FFF2-40B4-BE49-F238E27FC236}">
                    <a16:creationId xmlns:a16="http://schemas.microsoft.com/office/drawing/2014/main" id="{53CB7FB4-8B2B-EBE3-2C83-1C8CBBE00818}"/>
                  </a:ext>
                </a:extLst>
              </p:cNvPr>
              <p:cNvPicPr/>
              <p:nvPr/>
            </p:nvPicPr>
            <p:blipFill>
              <a:blip r:embed="rId42"/>
              <a:stretch>
                <a:fillRect/>
              </a:stretch>
            </p:blipFill>
            <p:spPr>
              <a:xfrm>
                <a:off x="8831910" y="3165015"/>
                <a:ext cx="833400" cy="246744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33" name="Ink 32">
                <a:extLst>
                  <a:ext uri="{FF2B5EF4-FFF2-40B4-BE49-F238E27FC236}">
                    <a16:creationId xmlns:a16="http://schemas.microsoft.com/office/drawing/2014/main" id="{B69296D6-025C-D15E-E53D-97C61D5FC28E}"/>
                  </a:ext>
                </a:extLst>
              </p14:cNvPr>
              <p14:cNvContentPartPr/>
              <p14:nvPr/>
            </p14:nvContentPartPr>
            <p14:xfrm>
              <a:off x="8007870" y="1037415"/>
              <a:ext cx="870120" cy="1992600"/>
            </p14:xfrm>
          </p:contentPart>
        </mc:Choice>
        <mc:Fallback xmlns="">
          <p:pic>
            <p:nvPicPr>
              <p:cNvPr id="33" name="Ink 32">
                <a:extLst>
                  <a:ext uri="{FF2B5EF4-FFF2-40B4-BE49-F238E27FC236}">
                    <a16:creationId xmlns:a16="http://schemas.microsoft.com/office/drawing/2014/main" id="{B69296D6-025C-D15E-E53D-97C61D5FC28E}"/>
                  </a:ext>
                </a:extLst>
              </p:cNvPr>
              <p:cNvPicPr/>
              <p:nvPr/>
            </p:nvPicPr>
            <p:blipFill>
              <a:blip r:embed="rId44"/>
              <a:stretch>
                <a:fillRect/>
              </a:stretch>
            </p:blipFill>
            <p:spPr>
              <a:xfrm>
                <a:off x="8001750" y="1031295"/>
                <a:ext cx="882360" cy="200484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34" name="Ink 33">
                <a:extLst>
                  <a:ext uri="{FF2B5EF4-FFF2-40B4-BE49-F238E27FC236}">
                    <a16:creationId xmlns:a16="http://schemas.microsoft.com/office/drawing/2014/main" id="{E9B01F1A-A5E6-33D6-977E-FC9DF9123CA4}"/>
                  </a:ext>
                </a:extLst>
              </p14:cNvPr>
              <p14:cNvContentPartPr/>
              <p14:nvPr/>
            </p14:nvContentPartPr>
            <p14:xfrm>
              <a:off x="11115390" y="979455"/>
              <a:ext cx="989280" cy="2089080"/>
            </p14:xfrm>
          </p:contentPart>
        </mc:Choice>
        <mc:Fallback xmlns="">
          <p:pic>
            <p:nvPicPr>
              <p:cNvPr id="34" name="Ink 33">
                <a:extLst>
                  <a:ext uri="{FF2B5EF4-FFF2-40B4-BE49-F238E27FC236}">
                    <a16:creationId xmlns:a16="http://schemas.microsoft.com/office/drawing/2014/main" id="{E9B01F1A-A5E6-33D6-977E-FC9DF9123CA4}"/>
                  </a:ext>
                </a:extLst>
              </p:cNvPr>
              <p:cNvPicPr/>
              <p:nvPr/>
            </p:nvPicPr>
            <p:blipFill>
              <a:blip r:embed="rId46"/>
              <a:stretch>
                <a:fillRect/>
              </a:stretch>
            </p:blipFill>
            <p:spPr>
              <a:xfrm>
                <a:off x="11109270" y="973335"/>
                <a:ext cx="1001520" cy="210132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35" name="Ink 34">
                <a:extLst>
                  <a:ext uri="{FF2B5EF4-FFF2-40B4-BE49-F238E27FC236}">
                    <a16:creationId xmlns:a16="http://schemas.microsoft.com/office/drawing/2014/main" id="{FE4ADF70-43D8-BD7F-12C6-47CEA7636818}"/>
                  </a:ext>
                </a:extLst>
              </p14:cNvPr>
              <p14:cNvContentPartPr/>
              <p14:nvPr/>
            </p14:nvContentPartPr>
            <p14:xfrm>
              <a:off x="11143110" y="4751175"/>
              <a:ext cx="1292760" cy="1424520"/>
            </p14:xfrm>
          </p:contentPart>
        </mc:Choice>
        <mc:Fallback xmlns="">
          <p:pic>
            <p:nvPicPr>
              <p:cNvPr id="35" name="Ink 34">
                <a:extLst>
                  <a:ext uri="{FF2B5EF4-FFF2-40B4-BE49-F238E27FC236}">
                    <a16:creationId xmlns:a16="http://schemas.microsoft.com/office/drawing/2014/main" id="{FE4ADF70-43D8-BD7F-12C6-47CEA7636818}"/>
                  </a:ext>
                </a:extLst>
              </p:cNvPr>
              <p:cNvPicPr/>
              <p:nvPr/>
            </p:nvPicPr>
            <p:blipFill>
              <a:blip r:embed="rId48"/>
              <a:stretch>
                <a:fillRect/>
              </a:stretch>
            </p:blipFill>
            <p:spPr>
              <a:xfrm>
                <a:off x="11136990" y="4745055"/>
                <a:ext cx="1305000" cy="1436760"/>
              </a:xfrm>
              <a:prstGeom prst="rect">
                <a:avLst/>
              </a:prstGeom>
            </p:spPr>
          </p:pic>
        </mc:Fallback>
      </mc:AlternateContent>
    </p:spTree>
    <p:extLst>
      <p:ext uri="{BB962C8B-B14F-4D97-AF65-F5344CB8AC3E}">
        <p14:creationId xmlns:p14="http://schemas.microsoft.com/office/powerpoint/2010/main" val="3556749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CDEF3-2478-E60F-C87E-8FB273288DAB}"/>
              </a:ext>
            </a:extLst>
          </p:cNvPr>
          <p:cNvSpPr>
            <a:spLocks noGrp="1"/>
          </p:cNvSpPr>
          <p:nvPr>
            <p:ph type="title"/>
          </p:nvPr>
        </p:nvSpPr>
        <p:spPr>
          <a:xfrm>
            <a:off x="372966" y="3"/>
            <a:ext cx="10512863" cy="514348"/>
          </a:xfrm>
        </p:spPr>
        <p:txBody>
          <a:bodyPr/>
          <a:lstStyle/>
          <a:p>
            <a:r>
              <a:rPr lang="en-US" dirty="0"/>
              <a:t>CSV Menu – Sunday Hub</a:t>
            </a:r>
          </a:p>
        </p:txBody>
      </p:sp>
      <p:sp>
        <p:nvSpPr>
          <p:cNvPr id="5" name="Date Placeholder 4">
            <a:extLst>
              <a:ext uri="{FF2B5EF4-FFF2-40B4-BE49-F238E27FC236}">
                <a16:creationId xmlns:a16="http://schemas.microsoft.com/office/drawing/2014/main" id="{2670D8E3-3F48-B93C-B689-4D0779B44599}"/>
              </a:ext>
            </a:extLst>
          </p:cNvPr>
          <p:cNvSpPr>
            <a:spLocks noGrp="1"/>
          </p:cNvSpPr>
          <p:nvPr>
            <p:ph type="dt" sz="half" idx="10"/>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7" name="Picture 6">
            <a:extLst>
              <a:ext uri="{FF2B5EF4-FFF2-40B4-BE49-F238E27FC236}">
                <a16:creationId xmlns:a16="http://schemas.microsoft.com/office/drawing/2014/main" id="{59EAEBFE-3B69-A872-B4C1-446BDD1D028D}"/>
              </a:ext>
            </a:extLst>
          </p:cNvPr>
          <p:cNvPicPr>
            <a:picLocks noChangeAspect="1"/>
          </p:cNvPicPr>
          <p:nvPr/>
        </p:nvPicPr>
        <p:blipFill>
          <a:blip r:embed="rId2"/>
          <a:stretch>
            <a:fillRect/>
          </a:stretch>
        </p:blipFill>
        <p:spPr>
          <a:xfrm>
            <a:off x="5164139" y="514351"/>
            <a:ext cx="6833119" cy="5429251"/>
          </a:xfrm>
          <a:prstGeom prst="rect">
            <a:avLst/>
          </a:prstGeom>
        </p:spPr>
      </p:pic>
      <p:sp>
        <p:nvSpPr>
          <p:cNvPr id="3" name="TextBox 2">
            <a:extLst>
              <a:ext uri="{FF2B5EF4-FFF2-40B4-BE49-F238E27FC236}">
                <a16:creationId xmlns:a16="http://schemas.microsoft.com/office/drawing/2014/main" id="{1FAD0404-A338-1967-84EB-1604C718C861}"/>
              </a:ext>
            </a:extLst>
          </p:cNvPr>
          <p:cNvSpPr txBox="1"/>
          <p:nvPr/>
        </p:nvSpPr>
        <p:spPr>
          <a:xfrm>
            <a:off x="116997" y="862563"/>
            <a:ext cx="4935985" cy="4524315"/>
          </a:xfrm>
          <a:prstGeom prst="rect">
            <a:avLst/>
          </a:prstGeom>
          <a:noFill/>
        </p:spPr>
        <p:txBody>
          <a:bodyPr wrap="square" rtlCol="0">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Specific to offices identified as Sunday/Holiday hubs with National Service Agreements for parcel delivery</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Hubs are established and maintained by Headquarters PO Operations and Field Support</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Summary of workload and earned hours associated with hub activity</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Provides total earned minutes per day for LDC 43A and LDC 48 workload</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Provides total daily earned minutes and hours per day</a:t>
            </a:r>
          </a:p>
        </p:txBody>
      </p:sp>
    </p:spTree>
    <p:extLst>
      <p:ext uri="{BB962C8B-B14F-4D97-AF65-F5344CB8AC3E}">
        <p14:creationId xmlns:p14="http://schemas.microsoft.com/office/powerpoint/2010/main" val="2362780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A06E7CE-788E-311F-4C5A-40B8200D4247}"/>
              </a:ext>
            </a:extLst>
          </p:cNvPr>
          <p:cNvSpPr>
            <a:spLocks noGrp="1"/>
          </p:cNvSpPr>
          <p:nvPr>
            <p:ph idx="1"/>
          </p:nvPr>
        </p:nvSpPr>
        <p:spPr>
          <a:xfrm>
            <a:off x="469900" y="965201"/>
            <a:ext cx="11252200" cy="5334002"/>
          </a:xfrm>
        </p:spPr>
        <p:txBody>
          <a:bodyPr>
            <a:normAutofit fontScale="92500" lnSpcReduction="10000"/>
          </a:bodyPr>
          <a:lstStyle/>
          <a:p>
            <a:r>
              <a:rPr lang="en-US" dirty="0"/>
              <a:t>1. Allow leave with down time</a:t>
            </a:r>
          </a:p>
          <a:p>
            <a:r>
              <a:rPr lang="en-US" dirty="0"/>
              <a:t>2. Schedule to earned</a:t>
            </a:r>
          </a:p>
          <a:p>
            <a:r>
              <a:rPr lang="en-US" dirty="0"/>
              <a:t>3. Abolish jobs upon regular retirement</a:t>
            </a:r>
          </a:p>
          <a:p>
            <a:r>
              <a:rPr lang="en-US" dirty="0"/>
              <a:t>   and repost new jobs if schedules </a:t>
            </a:r>
          </a:p>
          <a:p>
            <a:r>
              <a:rPr lang="en-US" dirty="0"/>
              <a:t>   changed more than an hour</a:t>
            </a:r>
          </a:p>
          <a:p>
            <a:r>
              <a:rPr lang="en-US" dirty="0"/>
              <a:t>4. Have tentative schedule made for     </a:t>
            </a:r>
          </a:p>
          <a:p>
            <a:r>
              <a:rPr lang="en-US" dirty="0"/>
              <a:t>    possible staffing changes</a:t>
            </a:r>
          </a:p>
          <a:p>
            <a:r>
              <a:rPr lang="en-US" dirty="0"/>
              <a:t>5. Combine hours with loaned offices to </a:t>
            </a:r>
          </a:p>
          <a:p>
            <a:r>
              <a:rPr lang="en-US" dirty="0"/>
              <a:t>    reach clerical guarantees</a:t>
            </a:r>
          </a:p>
          <a:p>
            <a:r>
              <a:rPr lang="en-US" dirty="0"/>
              <a:t>6. Transfer hours loaned out </a:t>
            </a:r>
          </a:p>
          <a:p>
            <a:r>
              <a:rPr lang="en-US" dirty="0"/>
              <a:t>7. Transfer hours to match earned in </a:t>
            </a:r>
          </a:p>
          <a:p>
            <a:r>
              <a:rPr lang="en-US" dirty="0"/>
              <a:t>    each LDC</a:t>
            </a:r>
          </a:p>
          <a:p>
            <a:endParaRPr lang="en-US" dirty="0"/>
          </a:p>
        </p:txBody>
      </p:sp>
      <p:sp>
        <p:nvSpPr>
          <p:cNvPr id="2" name="Title 1">
            <a:extLst>
              <a:ext uri="{FF2B5EF4-FFF2-40B4-BE49-F238E27FC236}">
                <a16:creationId xmlns:a16="http://schemas.microsoft.com/office/drawing/2014/main" id="{CA38ACC0-E806-0734-34BA-73F23546E78D}"/>
              </a:ext>
            </a:extLst>
          </p:cNvPr>
          <p:cNvSpPr>
            <a:spLocks noGrp="1"/>
          </p:cNvSpPr>
          <p:nvPr>
            <p:ph type="title"/>
          </p:nvPr>
        </p:nvSpPr>
        <p:spPr>
          <a:xfrm>
            <a:off x="469900" y="158751"/>
            <a:ext cx="11252200" cy="577940"/>
          </a:xfrm>
        </p:spPr>
        <p:txBody>
          <a:bodyPr/>
          <a:lstStyle/>
          <a:p>
            <a:r>
              <a:rPr lang="en-US" sz="3600" dirty="0"/>
              <a:t>Ways to monitor and increase your CSV %</a:t>
            </a:r>
          </a:p>
        </p:txBody>
      </p:sp>
      <p:sp>
        <p:nvSpPr>
          <p:cNvPr id="4" name="Content Placeholder 3">
            <a:extLst>
              <a:ext uri="{FF2B5EF4-FFF2-40B4-BE49-F238E27FC236}">
                <a16:creationId xmlns:a16="http://schemas.microsoft.com/office/drawing/2014/main" id="{DAB1D3A5-B249-F3E5-AB7D-C47E48C94860}"/>
              </a:ext>
            </a:extLst>
          </p:cNvPr>
          <p:cNvSpPr>
            <a:spLocks noGrp="1"/>
          </p:cNvSpPr>
          <p:nvPr>
            <p:ph sz="half" idx="4294967295"/>
          </p:nvPr>
        </p:nvSpPr>
        <p:spPr>
          <a:xfrm>
            <a:off x="7010400" y="965200"/>
            <a:ext cx="5181600" cy="4389438"/>
          </a:xfrm>
        </p:spPr>
        <p:txBody>
          <a:bodyPr>
            <a:normAutofit fontScale="85000" lnSpcReduction="20000"/>
          </a:bodyPr>
          <a:lstStyle/>
          <a:p>
            <a:r>
              <a:rPr lang="en-US" dirty="0"/>
              <a:t>8. Transfer hours to training used</a:t>
            </a:r>
          </a:p>
          <a:p>
            <a:r>
              <a:rPr lang="en-US" dirty="0"/>
              <a:t>9. Use in combination – Flash, LTATS,</a:t>
            </a:r>
          </a:p>
          <a:p>
            <a:r>
              <a:rPr lang="en-US" dirty="0"/>
              <a:t>    Station Summary, TACS &amp; CSAW          </a:t>
            </a:r>
          </a:p>
          <a:p>
            <a:r>
              <a:rPr lang="en-US" dirty="0"/>
              <a:t>    to accurately record time</a:t>
            </a:r>
          </a:p>
          <a:p>
            <a:r>
              <a:rPr lang="en-US" dirty="0"/>
              <a:t>10. Ensure Flash has been reconciled</a:t>
            </a:r>
          </a:p>
          <a:p>
            <a:r>
              <a:rPr lang="en-US" dirty="0"/>
              <a:t>    before correcting transfers for pay</a:t>
            </a:r>
          </a:p>
          <a:p>
            <a:r>
              <a:rPr lang="en-US" dirty="0"/>
              <a:t>    periods</a:t>
            </a:r>
          </a:p>
          <a:p>
            <a:r>
              <a:rPr lang="en-US" dirty="0"/>
              <a:t>11. Verify LTATS that no one has </a:t>
            </a:r>
          </a:p>
          <a:p>
            <a:r>
              <a:rPr lang="en-US" dirty="0"/>
              <a:t>     transferred hours to you they </a:t>
            </a:r>
          </a:p>
          <a:p>
            <a:r>
              <a:rPr lang="en-US" dirty="0"/>
              <a:t>     shouldn’t have or wrong amount </a:t>
            </a:r>
          </a:p>
        </p:txBody>
      </p:sp>
      <p:sp>
        <p:nvSpPr>
          <p:cNvPr id="5" name="Date Placeholder 4">
            <a:extLst>
              <a:ext uri="{FF2B5EF4-FFF2-40B4-BE49-F238E27FC236}">
                <a16:creationId xmlns:a16="http://schemas.microsoft.com/office/drawing/2014/main" id="{C1B1AB91-53A9-52FE-8102-9927C1DE57C6}"/>
              </a:ext>
            </a:extLst>
          </p:cNvPr>
          <p:cNvSpPr>
            <a:spLocks noGrp="1"/>
          </p:cNvSpPr>
          <p:nvPr>
            <p:ph type="dt" sz="half" idx="4294967295"/>
          </p:nvPr>
        </p:nvSpPr>
        <p:spPr>
          <a:xfrm>
            <a:off x="0" y="6462713"/>
            <a:ext cx="1143000" cy="236537"/>
          </a:xfrm>
        </p:spPr>
        <p:txBody>
          <a:bodyPr/>
          <a:lstStyle/>
          <a:p>
            <a:endParaRPr lang="en-US" dirty="0"/>
          </a:p>
        </p:txBody>
      </p:sp>
    </p:spTree>
    <p:extLst>
      <p:ext uri="{BB962C8B-B14F-4D97-AF65-F5344CB8AC3E}">
        <p14:creationId xmlns:p14="http://schemas.microsoft.com/office/powerpoint/2010/main" val="150563848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B443F2-9ABA-A919-2143-76855CB4F969}"/>
              </a:ext>
            </a:extLst>
          </p:cNvPr>
          <p:cNvSpPr>
            <a:spLocks noGrp="1"/>
          </p:cNvSpPr>
          <p:nvPr>
            <p:ph idx="1"/>
          </p:nvPr>
        </p:nvSpPr>
        <p:spPr/>
        <p:txBody>
          <a:bodyPr>
            <a:normAutofit/>
          </a:bodyPr>
          <a:lstStyle/>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FY 23 CSV/SOV Scor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CSV/SOV Varianc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Cell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1        /     2    /      3    /     4    /      5    /      6       /      7      /        8    /        9    /      10</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77.5 / 81.88 / 86.25 / 90.63 / 95.00 / 103.00 / 111.00 / 119.00 / 127.00 / 135.00</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CSV/SOV Varianc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 FY Earned hours = 1200</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Dived by                                               1200/1250 = .96 X 100 = 96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Cell 5 )</a:t>
            </a:r>
            <a:r>
              <a:rPr lang="en-US" sz="1800" dirty="0">
                <a:effectLst/>
                <a:latin typeface="Calibri" panose="020F0502020204030204" pitchFamily="34" charset="0"/>
                <a:ea typeface="Calibri" panose="020F0502020204030204" pitchFamily="34" charset="0"/>
                <a:cs typeface="Times New Roman" panose="02020603050405020304" pitchFamily="18" charset="0"/>
              </a:rPr>
              <a:t>                  Cell 5 = 95.00</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 FY Actual hours  = 1250 </a:t>
            </a:r>
          </a:p>
          <a:p>
            <a:endParaRPr lang="en-US" dirty="0"/>
          </a:p>
        </p:txBody>
      </p:sp>
      <p:sp>
        <p:nvSpPr>
          <p:cNvPr id="2" name="Title 1">
            <a:extLst>
              <a:ext uri="{FF2B5EF4-FFF2-40B4-BE49-F238E27FC236}">
                <a16:creationId xmlns:a16="http://schemas.microsoft.com/office/drawing/2014/main" id="{3844D812-5B52-35AF-8A11-DFF12D8343C0}"/>
              </a:ext>
            </a:extLst>
          </p:cNvPr>
          <p:cNvSpPr>
            <a:spLocks noGrp="1"/>
          </p:cNvSpPr>
          <p:nvPr>
            <p:ph type="title"/>
          </p:nvPr>
        </p:nvSpPr>
        <p:spPr>
          <a:xfrm>
            <a:off x="469900" y="402587"/>
            <a:ext cx="11252200" cy="854713"/>
          </a:xfrm>
        </p:spPr>
        <p:txBody>
          <a:bodyPr/>
          <a:lstStyle/>
          <a:p>
            <a:r>
              <a:rPr lang="en-US" sz="3600" dirty="0"/>
              <a:t>CSV Variance score</a:t>
            </a:r>
          </a:p>
        </p:txBody>
      </p:sp>
      <p:sp>
        <p:nvSpPr>
          <p:cNvPr id="4" name="Content Placeholder 3">
            <a:extLst>
              <a:ext uri="{FF2B5EF4-FFF2-40B4-BE49-F238E27FC236}">
                <a16:creationId xmlns:a16="http://schemas.microsoft.com/office/drawing/2014/main" id="{EE3FB3B9-A8BD-A021-8C7E-3CAA6704D23C}"/>
              </a:ext>
            </a:extLst>
          </p:cNvPr>
          <p:cNvSpPr>
            <a:spLocks noGrp="1"/>
          </p:cNvSpPr>
          <p:nvPr>
            <p:ph sz="half" idx="4294967295"/>
          </p:nvPr>
        </p:nvSpPr>
        <p:spPr>
          <a:xfrm>
            <a:off x="12145963" y="965200"/>
            <a:ext cx="46037" cy="4389438"/>
          </a:xfrm>
        </p:spPr>
        <p:txBody>
          <a:bodyPr>
            <a:normAutofit/>
          </a:bodyPr>
          <a:lstStyle/>
          <a:p>
            <a:r>
              <a:rPr lang="en-US" dirty="0"/>
              <a:t>  </a:t>
            </a:r>
          </a:p>
        </p:txBody>
      </p:sp>
      <mc:AlternateContent xmlns:mc="http://schemas.openxmlformats.org/markup-compatibility/2006" xmlns:p14="http://schemas.microsoft.com/office/powerpoint/2010/main">
        <mc:Choice Requires="p14">
          <p:contentPart p14:bwMode="auto" r:id="rId2">
            <p14:nvContentPartPr>
              <p14:cNvPr id="6" name="Ink 5">
                <a:extLst>
                  <a:ext uri="{FF2B5EF4-FFF2-40B4-BE49-F238E27FC236}">
                    <a16:creationId xmlns:a16="http://schemas.microsoft.com/office/drawing/2014/main" id="{E274E64A-D620-EAF2-59CD-41BC0A902BAF}"/>
                  </a:ext>
                </a:extLst>
              </p14:cNvPr>
              <p14:cNvContentPartPr/>
              <p14:nvPr/>
            </p14:nvContentPartPr>
            <p14:xfrm>
              <a:off x="3247980" y="2978850"/>
              <a:ext cx="571320" cy="432000"/>
            </p14:xfrm>
          </p:contentPart>
        </mc:Choice>
        <mc:Fallback xmlns="">
          <p:pic>
            <p:nvPicPr>
              <p:cNvPr id="6" name="Ink 5">
                <a:extLst>
                  <a:ext uri="{FF2B5EF4-FFF2-40B4-BE49-F238E27FC236}">
                    <a16:creationId xmlns:a16="http://schemas.microsoft.com/office/drawing/2014/main" id="{E274E64A-D620-EAF2-59CD-41BC0A902BAF}"/>
                  </a:ext>
                </a:extLst>
              </p:cNvPr>
              <p:cNvPicPr/>
              <p:nvPr/>
            </p:nvPicPr>
            <p:blipFill>
              <a:blip r:embed="rId3"/>
              <a:stretch>
                <a:fillRect/>
              </a:stretch>
            </p:blipFill>
            <p:spPr>
              <a:xfrm>
                <a:off x="3157980" y="2798850"/>
                <a:ext cx="750960" cy="791640"/>
              </a:xfrm>
              <a:prstGeom prst="rect">
                <a:avLst/>
              </a:prstGeom>
            </p:spPr>
          </p:pic>
        </mc:Fallback>
      </mc:AlternateContent>
    </p:spTree>
    <p:extLst>
      <p:ext uri="{BB962C8B-B14F-4D97-AF65-F5344CB8AC3E}">
        <p14:creationId xmlns:p14="http://schemas.microsoft.com/office/powerpoint/2010/main" val="320192057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E812CA-6060-C9D7-33A4-01D428DA2C4E}"/>
              </a:ext>
            </a:extLst>
          </p:cNvPr>
          <p:cNvSpPr>
            <a:spLocks noGrp="1"/>
          </p:cNvSpPr>
          <p:nvPr>
            <p:ph idx="1"/>
          </p:nvPr>
        </p:nvSpPr>
        <p:spPr/>
        <p:txBody>
          <a:bodyPr>
            <a:normAutofit lnSpcReduction="10000"/>
          </a:bodyPr>
          <a:lstStyle/>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Cell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1        /       2    /      3    /     4    /      5    /      6       /      7      /        8    /        9    /      10</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99.99 / -70.00 /  .40.1  / .10.1 / 19.98  / 35.98  /  51.98   /  67.98   /  83.99  /  99.99</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CSV/SOV Opportunity % SPLY</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 % achieved – SPLY % achieved 96% - 97.5% = .015</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Divide by                                            .015 / 2.5 = .006 X 100 = -.60 =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Cell 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00% - SPLY Percent Achieved 100% - 97.5% = 2.5%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You take the greater of the two cells.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CSV/SOV Variance = Cell 5</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CSV/SOV Opportunity % SPLY = Cell 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Your Score is a Cell 5</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2" name="Title 1">
            <a:extLst>
              <a:ext uri="{FF2B5EF4-FFF2-40B4-BE49-F238E27FC236}">
                <a16:creationId xmlns:a16="http://schemas.microsoft.com/office/drawing/2014/main" id="{63F21C14-BE34-8F8F-42A5-1E694B281A31}"/>
              </a:ext>
            </a:extLst>
          </p:cNvPr>
          <p:cNvSpPr>
            <a:spLocks noGrp="1"/>
          </p:cNvSpPr>
          <p:nvPr>
            <p:ph type="title"/>
          </p:nvPr>
        </p:nvSpPr>
        <p:spPr>
          <a:xfrm>
            <a:off x="469900" y="402587"/>
            <a:ext cx="11252200" cy="768988"/>
          </a:xfrm>
        </p:spPr>
        <p:txBody>
          <a:bodyPr/>
          <a:lstStyle/>
          <a:p>
            <a:r>
              <a:rPr lang="en-US" sz="3600" dirty="0"/>
              <a:t>CSV Opportunity to SPLY</a:t>
            </a:r>
          </a:p>
        </p:txBody>
      </p:sp>
      <p:sp>
        <p:nvSpPr>
          <p:cNvPr id="4" name="Content Placeholder 3">
            <a:extLst>
              <a:ext uri="{FF2B5EF4-FFF2-40B4-BE49-F238E27FC236}">
                <a16:creationId xmlns:a16="http://schemas.microsoft.com/office/drawing/2014/main" id="{668CCD74-9FBC-2953-CA2D-B33870B7B261}"/>
              </a:ext>
            </a:extLst>
          </p:cNvPr>
          <p:cNvSpPr>
            <a:spLocks noGrp="1"/>
          </p:cNvSpPr>
          <p:nvPr>
            <p:ph sz="half" idx="4294967295"/>
          </p:nvPr>
        </p:nvSpPr>
        <p:spPr>
          <a:xfrm>
            <a:off x="12145963" y="965200"/>
            <a:ext cx="46037" cy="4389438"/>
          </a:xfrm>
        </p:spPr>
        <p:txBody>
          <a:bodyPr>
            <a:normAutofit/>
          </a:bodyPr>
          <a:lstStyle/>
          <a:p>
            <a:r>
              <a:rPr lang="en-US" dirty="0"/>
              <a:t>  </a:t>
            </a:r>
          </a:p>
        </p:txBody>
      </p:sp>
      <p:sp>
        <p:nvSpPr>
          <p:cNvPr id="5" name="Date Placeholder 4">
            <a:extLst>
              <a:ext uri="{FF2B5EF4-FFF2-40B4-BE49-F238E27FC236}">
                <a16:creationId xmlns:a16="http://schemas.microsoft.com/office/drawing/2014/main" id="{BE1F62E2-6091-45C7-756E-D1C9E8425F7C}"/>
              </a:ext>
            </a:extLst>
          </p:cNvPr>
          <p:cNvSpPr>
            <a:spLocks noGrp="1"/>
          </p:cNvSpPr>
          <p:nvPr>
            <p:ph type="dt" sz="half" idx="4294967295"/>
          </p:nvPr>
        </p:nvSpPr>
        <p:spPr>
          <a:xfrm>
            <a:off x="0" y="6462713"/>
            <a:ext cx="1143000" cy="236537"/>
          </a:xfrm>
        </p:spPr>
        <p:txBody>
          <a:bodyPr/>
          <a:lstStyle/>
          <a:p>
            <a:fld id="{2A32838C-5203-4A13-8D33-AC09A091C092}" type="datetime1">
              <a:rPr lang="en-US" smtClean="0"/>
              <a:pPr/>
              <a:t>9/24/2024</a:t>
            </a:fld>
            <a:endParaRPr lang="en-US"/>
          </a:p>
        </p:txBody>
      </p:sp>
      <mc:AlternateContent xmlns:mc="http://schemas.openxmlformats.org/markup-compatibility/2006" xmlns:p14="http://schemas.microsoft.com/office/powerpoint/2010/main">
        <mc:Choice Requires="p14">
          <p:contentPart p14:bwMode="auto" r:id="rId2">
            <p14:nvContentPartPr>
              <p14:cNvPr id="8" name="Ink 7">
                <a:extLst>
                  <a:ext uri="{FF2B5EF4-FFF2-40B4-BE49-F238E27FC236}">
                    <a16:creationId xmlns:a16="http://schemas.microsoft.com/office/drawing/2014/main" id="{7797FBA3-58C2-CE7A-B4AA-46E31EE992BB}"/>
                  </a:ext>
                </a:extLst>
              </p14:cNvPr>
              <p14:cNvContentPartPr/>
              <p14:nvPr/>
            </p14:nvContentPartPr>
            <p14:xfrm>
              <a:off x="3477300" y="2131770"/>
              <a:ext cx="735840" cy="505440"/>
            </p14:xfrm>
          </p:contentPart>
        </mc:Choice>
        <mc:Fallback xmlns="">
          <p:pic>
            <p:nvPicPr>
              <p:cNvPr id="8" name="Ink 7">
                <a:extLst>
                  <a:ext uri="{FF2B5EF4-FFF2-40B4-BE49-F238E27FC236}">
                    <a16:creationId xmlns:a16="http://schemas.microsoft.com/office/drawing/2014/main" id="{7797FBA3-58C2-CE7A-B4AA-46E31EE992BB}"/>
                  </a:ext>
                </a:extLst>
              </p:cNvPr>
              <p:cNvPicPr/>
              <p:nvPr/>
            </p:nvPicPr>
            <p:blipFill>
              <a:blip r:embed="rId3"/>
              <a:stretch>
                <a:fillRect/>
              </a:stretch>
            </p:blipFill>
            <p:spPr>
              <a:xfrm>
                <a:off x="3387660" y="1952130"/>
                <a:ext cx="915480" cy="86508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9" name="Ink 8">
                <a:extLst>
                  <a:ext uri="{FF2B5EF4-FFF2-40B4-BE49-F238E27FC236}">
                    <a16:creationId xmlns:a16="http://schemas.microsoft.com/office/drawing/2014/main" id="{BB9DF279-A260-7275-9874-86251EBEB8F0}"/>
                  </a:ext>
                </a:extLst>
              </p14:cNvPr>
              <p14:cNvContentPartPr/>
              <p14:nvPr/>
            </p14:nvContentPartPr>
            <p14:xfrm>
              <a:off x="3545700" y="2078130"/>
              <a:ext cx="671400" cy="47880"/>
            </p14:xfrm>
          </p:contentPart>
        </mc:Choice>
        <mc:Fallback xmlns="">
          <p:pic>
            <p:nvPicPr>
              <p:cNvPr id="9" name="Ink 8">
                <a:extLst>
                  <a:ext uri="{FF2B5EF4-FFF2-40B4-BE49-F238E27FC236}">
                    <a16:creationId xmlns:a16="http://schemas.microsoft.com/office/drawing/2014/main" id="{BB9DF279-A260-7275-9874-86251EBEB8F0}"/>
                  </a:ext>
                </a:extLst>
              </p:cNvPr>
              <p:cNvPicPr/>
              <p:nvPr/>
            </p:nvPicPr>
            <p:blipFill>
              <a:blip r:embed="rId5"/>
              <a:stretch>
                <a:fillRect/>
              </a:stretch>
            </p:blipFill>
            <p:spPr>
              <a:xfrm>
                <a:off x="3455700" y="1898490"/>
                <a:ext cx="851040" cy="407520"/>
              </a:xfrm>
              <a:prstGeom prst="rect">
                <a:avLst/>
              </a:prstGeom>
            </p:spPr>
          </p:pic>
        </mc:Fallback>
      </mc:AlternateContent>
    </p:spTree>
    <p:extLst>
      <p:ext uri="{BB962C8B-B14F-4D97-AF65-F5344CB8AC3E}">
        <p14:creationId xmlns:p14="http://schemas.microsoft.com/office/powerpoint/2010/main" val="384850768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BC7F44E-AA57-8D00-3486-324DFDA36C82}"/>
              </a:ext>
            </a:extLst>
          </p:cNvPr>
          <p:cNvGraphicFramePr>
            <a:graphicFrameLocks noGrp="1"/>
          </p:cNvGraphicFramePr>
          <p:nvPr>
            <p:ph idx="1"/>
            <p:extLst>
              <p:ext uri="{D42A27DB-BD31-4B8C-83A1-F6EECF244321}">
                <p14:modId xmlns:p14="http://schemas.microsoft.com/office/powerpoint/2010/main" val="2989091453"/>
              </p:ext>
            </p:extLst>
          </p:nvPr>
        </p:nvGraphicFramePr>
        <p:xfrm>
          <a:off x="469900" y="852055"/>
          <a:ext cx="11427692" cy="5808524"/>
        </p:xfrm>
        <a:graphic>
          <a:graphicData uri="http://schemas.openxmlformats.org/drawingml/2006/table">
            <a:tbl>
              <a:tblPr>
                <a:tableStyleId>{5C22544A-7EE6-4342-B048-85BDC9FD1C3A}</a:tableStyleId>
              </a:tblPr>
              <a:tblGrid>
                <a:gridCol w="4424148">
                  <a:extLst>
                    <a:ext uri="{9D8B030D-6E8A-4147-A177-3AD203B41FA5}">
                      <a16:colId xmlns:a16="http://schemas.microsoft.com/office/drawing/2014/main" val="1652813980"/>
                    </a:ext>
                  </a:extLst>
                </a:gridCol>
                <a:gridCol w="538736">
                  <a:extLst>
                    <a:ext uri="{9D8B030D-6E8A-4147-A177-3AD203B41FA5}">
                      <a16:colId xmlns:a16="http://schemas.microsoft.com/office/drawing/2014/main" val="2315162485"/>
                    </a:ext>
                  </a:extLst>
                </a:gridCol>
                <a:gridCol w="2367165">
                  <a:extLst>
                    <a:ext uri="{9D8B030D-6E8A-4147-A177-3AD203B41FA5}">
                      <a16:colId xmlns:a16="http://schemas.microsoft.com/office/drawing/2014/main" val="1071745610"/>
                    </a:ext>
                  </a:extLst>
                </a:gridCol>
                <a:gridCol w="1648852">
                  <a:extLst>
                    <a:ext uri="{9D8B030D-6E8A-4147-A177-3AD203B41FA5}">
                      <a16:colId xmlns:a16="http://schemas.microsoft.com/office/drawing/2014/main" val="2175334285"/>
                    </a:ext>
                  </a:extLst>
                </a:gridCol>
                <a:gridCol w="848914">
                  <a:extLst>
                    <a:ext uri="{9D8B030D-6E8A-4147-A177-3AD203B41FA5}">
                      <a16:colId xmlns:a16="http://schemas.microsoft.com/office/drawing/2014/main" val="3530504796"/>
                    </a:ext>
                  </a:extLst>
                </a:gridCol>
                <a:gridCol w="816265">
                  <a:extLst>
                    <a:ext uri="{9D8B030D-6E8A-4147-A177-3AD203B41FA5}">
                      <a16:colId xmlns:a16="http://schemas.microsoft.com/office/drawing/2014/main" val="2087748330"/>
                    </a:ext>
                  </a:extLst>
                </a:gridCol>
                <a:gridCol w="783612">
                  <a:extLst>
                    <a:ext uri="{9D8B030D-6E8A-4147-A177-3AD203B41FA5}">
                      <a16:colId xmlns:a16="http://schemas.microsoft.com/office/drawing/2014/main" val="2335430334"/>
                    </a:ext>
                  </a:extLst>
                </a:gridCol>
              </a:tblGrid>
              <a:tr h="731149">
                <a:tc>
                  <a:txBody>
                    <a:bodyPr/>
                    <a:lstStyle/>
                    <a:p>
                      <a:pPr algn="l" fontAlgn="b"/>
                      <a:r>
                        <a:rPr lang="en-US" sz="4000" u="none" strike="noStrike" dirty="0">
                          <a:effectLst/>
                        </a:rPr>
                        <a:t>F2DPH  </a:t>
                      </a:r>
                      <a:endParaRPr lang="en-US" sz="4000" b="0" i="0" u="none" strike="noStrike" dirty="0">
                        <a:solidFill>
                          <a:srgbClr val="000000"/>
                        </a:solidFill>
                        <a:effectLst/>
                        <a:latin typeface="Calibri" panose="020F0502020204030204" pitchFamily="34" charset="0"/>
                      </a:endParaRPr>
                    </a:p>
                  </a:txBody>
                  <a:tcPr marL="6346" marR="6346" marT="6346" marB="0" anchor="b"/>
                </a:tc>
                <a:tc>
                  <a:txBody>
                    <a:bodyPr/>
                    <a:lstStyle/>
                    <a:p>
                      <a:pPr algn="l" fontAlgn="b"/>
                      <a:endParaRPr lang="en-US" sz="1700" b="0" i="0" u="none" strike="noStrike" dirty="0">
                        <a:solidFill>
                          <a:srgbClr val="000000"/>
                        </a:solidFill>
                        <a:effectLst/>
                        <a:latin typeface="Calibri" panose="020F0502020204030204" pitchFamily="34" charset="0"/>
                      </a:endParaRPr>
                    </a:p>
                  </a:txBody>
                  <a:tcPr marL="6346" marR="6346" marT="6346" marB="0" anchor="b"/>
                </a:tc>
                <a:tc>
                  <a:txBody>
                    <a:bodyPr/>
                    <a:lstStyle/>
                    <a:p>
                      <a:pPr algn="l" fontAlgn="b"/>
                      <a:endParaRPr lang="en-US" sz="1700" b="0" i="0" u="none" strike="noStrike" dirty="0">
                        <a:solidFill>
                          <a:srgbClr val="000000"/>
                        </a:solidFill>
                        <a:effectLst/>
                        <a:latin typeface="Calibri" panose="020F0502020204030204" pitchFamily="34" charset="0"/>
                      </a:endParaRPr>
                    </a:p>
                  </a:txBody>
                  <a:tcPr marL="6346" marR="6346" marT="6346" marB="0" anchor="b"/>
                </a:tc>
                <a:tc>
                  <a:txBody>
                    <a:bodyPr/>
                    <a:lstStyle/>
                    <a:p>
                      <a:pPr algn="l" fontAlgn="b"/>
                      <a:r>
                        <a:rPr lang="en-US" sz="1700" b="0" i="0" u="none" strike="noStrike" dirty="0">
                          <a:solidFill>
                            <a:srgbClr val="000000"/>
                          </a:solidFill>
                          <a:effectLst/>
                          <a:latin typeface="Calibri" panose="020F0502020204030204" pitchFamily="34" charset="0"/>
                        </a:rPr>
                        <a:t>            </a:t>
                      </a:r>
                      <a:r>
                        <a:rPr lang="en-US" sz="1700" b="0" i="0" u="none" strike="noStrike" dirty="0" err="1">
                          <a:solidFill>
                            <a:srgbClr val="000000"/>
                          </a:solidFill>
                          <a:effectLst/>
                          <a:latin typeface="Calibri" panose="020F0502020204030204" pitchFamily="34" charset="0"/>
                        </a:rPr>
                        <a:t>Cummulative</a:t>
                      </a:r>
                      <a:endParaRPr lang="en-US" sz="1700" b="0" i="0" u="none" strike="noStrike" dirty="0">
                        <a:solidFill>
                          <a:srgbClr val="000000"/>
                        </a:solidFill>
                        <a:effectLst/>
                        <a:latin typeface="Calibri" panose="020F0502020204030204" pitchFamily="34" charset="0"/>
                      </a:endParaRPr>
                    </a:p>
                  </a:txBody>
                  <a:tcPr marL="6346" marR="6346" marT="6346" marB="0" anchor="b"/>
                </a:tc>
                <a:tc>
                  <a:txBody>
                    <a:bodyPr/>
                    <a:lstStyle/>
                    <a:p>
                      <a:pPr algn="l" fontAlgn="b"/>
                      <a:endParaRPr lang="en-US" sz="17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17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1700" b="0"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4003183969"/>
                  </a:ext>
                </a:extLst>
              </a:tr>
              <a:tr h="323898">
                <a:tc>
                  <a:txBody>
                    <a:bodyPr/>
                    <a:lstStyle/>
                    <a:p>
                      <a:pPr algn="l" fontAlgn="b"/>
                      <a:r>
                        <a:rPr lang="en-US" sz="1700" u="none" strike="noStrike">
                          <a:effectLst/>
                        </a:rPr>
                        <a:t>YTD Possible Deliveries</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A</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dirty="0">
                          <a:effectLst/>
                          <a:highlight>
                            <a:srgbClr val="D9D9D9"/>
                          </a:highlight>
                        </a:rPr>
                        <a:t> </a:t>
                      </a:r>
                      <a:endParaRPr lang="en-US" sz="1700" b="1" i="0" u="none" strike="noStrike" dirty="0">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rPr>
                        <a:t>1005219</a:t>
                      </a:r>
                      <a:endParaRPr lang="en-US" sz="17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1</a:t>
                      </a:r>
                      <a:endParaRPr lang="en-US" sz="15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5.00</a:t>
                      </a:r>
                      <a:endParaRPr lang="en-US" sz="1500" b="1"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2432094651"/>
                  </a:ext>
                </a:extLst>
              </a:tr>
              <a:tr h="323898">
                <a:tc>
                  <a:txBody>
                    <a:bodyPr/>
                    <a:lstStyle/>
                    <a:p>
                      <a:pPr algn="l" fontAlgn="b"/>
                      <a:r>
                        <a:rPr lang="en-US" sz="1700" u="none" strike="noStrike">
                          <a:effectLst/>
                        </a:rPr>
                        <a:t>YTD F2 Work Hours</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B</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 </a:t>
                      </a:r>
                      <a:endParaRPr lang="en-US" sz="1700" b="1"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rPr>
                        <a:t>13907</a:t>
                      </a:r>
                      <a:endParaRPr lang="en-US" sz="17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2</a:t>
                      </a:r>
                      <a:endParaRPr lang="en-US" sz="15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3.69</a:t>
                      </a:r>
                      <a:endParaRPr lang="en-US" sz="1500" b="1"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290464492"/>
                  </a:ext>
                </a:extLst>
              </a:tr>
              <a:tr h="323898">
                <a:tc>
                  <a:txBody>
                    <a:bodyPr/>
                    <a:lstStyle/>
                    <a:p>
                      <a:pPr algn="l" fontAlgn="b"/>
                      <a:r>
                        <a:rPr lang="en-US" sz="1700" u="none" strike="noStrike">
                          <a:effectLst/>
                        </a:rPr>
                        <a:t>YTD F2DPH</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C</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A/B)</a:t>
                      </a:r>
                      <a:endParaRPr lang="en-US" sz="1700" b="1"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rPr>
                        <a:t>72.281513</a:t>
                      </a:r>
                      <a:endParaRPr lang="en-US" sz="17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3</a:t>
                      </a:r>
                      <a:endParaRPr lang="en-US" sz="15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2.38</a:t>
                      </a:r>
                      <a:endParaRPr lang="en-US" sz="1500" b="1"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2632494023"/>
                  </a:ext>
                </a:extLst>
              </a:tr>
              <a:tr h="323898">
                <a:tc>
                  <a:txBody>
                    <a:bodyPr/>
                    <a:lstStyle/>
                    <a:p>
                      <a:pPr algn="l" fontAlgn="b"/>
                      <a:r>
                        <a:rPr lang="en-US" sz="1700" u="none" strike="noStrike">
                          <a:effectLst/>
                        </a:rPr>
                        <a:t>YTD F2 Packages</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D</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 </a:t>
                      </a:r>
                      <a:endParaRPr lang="en-US" sz="1700" b="1"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rPr>
                        <a:t>176868</a:t>
                      </a:r>
                      <a:endParaRPr lang="en-US" sz="17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4</a:t>
                      </a:r>
                      <a:endParaRPr lang="en-US" sz="15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1.06</a:t>
                      </a:r>
                      <a:endParaRPr lang="en-US" sz="1500" b="1"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2237361032"/>
                  </a:ext>
                </a:extLst>
              </a:tr>
              <a:tr h="323898">
                <a:tc>
                  <a:txBody>
                    <a:bodyPr/>
                    <a:lstStyle/>
                    <a:p>
                      <a:pPr algn="l" fontAlgn="b"/>
                      <a:r>
                        <a:rPr lang="en-US" sz="1700" u="none" strike="noStrike">
                          <a:effectLst/>
                        </a:rPr>
                        <a:t>SPLY Possible Deliveries</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E</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 </a:t>
                      </a:r>
                      <a:endParaRPr lang="en-US" sz="1700" b="1"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rPr>
                        <a:t>1009579</a:t>
                      </a:r>
                      <a:endParaRPr lang="en-US" sz="17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5</a:t>
                      </a:r>
                      <a:endParaRPr lang="en-US" sz="15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0.25</a:t>
                      </a:r>
                      <a:endParaRPr lang="en-US" sz="1500" b="1"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3540879514"/>
                  </a:ext>
                </a:extLst>
              </a:tr>
              <a:tr h="323898">
                <a:tc>
                  <a:txBody>
                    <a:bodyPr/>
                    <a:lstStyle/>
                    <a:p>
                      <a:pPr algn="l" fontAlgn="b"/>
                      <a:r>
                        <a:rPr lang="en-US" sz="1700" u="none" strike="noStrike">
                          <a:effectLst/>
                        </a:rPr>
                        <a:t>SPLY F2 Work Hours</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F</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 </a:t>
                      </a:r>
                      <a:endParaRPr lang="en-US" sz="1700" b="1"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rPr>
                        <a:t>13970</a:t>
                      </a:r>
                      <a:endParaRPr lang="en-US" sz="17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6</a:t>
                      </a:r>
                      <a:endParaRPr lang="en-US" sz="15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3.20</a:t>
                      </a:r>
                      <a:endParaRPr lang="en-US" sz="1500" b="1"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2532442758"/>
                  </a:ext>
                </a:extLst>
              </a:tr>
              <a:tr h="323898">
                <a:tc>
                  <a:txBody>
                    <a:bodyPr/>
                    <a:lstStyle/>
                    <a:p>
                      <a:pPr algn="l" fontAlgn="b"/>
                      <a:r>
                        <a:rPr lang="en-US" sz="1700" u="none" strike="noStrike">
                          <a:effectLst/>
                        </a:rPr>
                        <a:t>SPLY F2 Packages</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G</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 </a:t>
                      </a:r>
                      <a:endParaRPr lang="en-US" sz="1700" b="1"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rPr>
                        <a:t>218910</a:t>
                      </a:r>
                      <a:endParaRPr lang="en-US" sz="17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7</a:t>
                      </a:r>
                      <a:endParaRPr lang="en-US" sz="15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6.15</a:t>
                      </a:r>
                      <a:endParaRPr lang="en-US" sz="1500" b="1"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359939930"/>
                  </a:ext>
                </a:extLst>
              </a:tr>
              <a:tr h="323898">
                <a:tc>
                  <a:txBody>
                    <a:bodyPr/>
                    <a:lstStyle/>
                    <a:p>
                      <a:pPr algn="l" fontAlgn="b"/>
                      <a:r>
                        <a:rPr lang="en-US" sz="1700" u="none" strike="noStrike">
                          <a:effectLst/>
                        </a:rPr>
                        <a:t>Package Volume Adjustment</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H</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D - G) x 0.017</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700" u="none" strike="noStrike">
                          <a:effectLst/>
                        </a:rPr>
                        <a:t>-714.714</a:t>
                      </a:r>
                      <a:endParaRPr lang="en-US" sz="17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8</a:t>
                      </a:r>
                      <a:endParaRPr lang="en-US" sz="15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9.10</a:t>
                      </a:r>
                      <a:endParaRPr lang="en-US" sz="1500" b="1"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712041008"/>
                  </a:ext>
                </a:extLst>
              </a:tr>
              <a:tr h="323898">
                <a:tc>
                  <a:txBody>
                    <a:bodyPr/>
                    <a:lstStyle/>
                    <a:p>
                      <a:pPr algn="l" fontAlgn="b"/>
                      <a:r>
                        <a:rPr lang="en-US" sz="1700" u="none" strike="noStrike">
                          <a:effectLst/>
                        </a:rPr>
                        <a:t>SPLY F2DPH</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I</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E / (F+H)</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700" u="none" strike="noStrike">
                          <a:effectLst/>
                        </a:rPr>
                        <a:t>76.164256</a:t>
                      </a:r>
                      <a:endParaRPr lang="en-US" sz="17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9</a:t>
                      </a:r>
                      <a:endParaRPr lang="en-US" sz="15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12.05</a:t>
                      </a:r>
                      <a:endParaRPr lang="en-US" sz="1500" b="1"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3190713681"/>
                  </a:ext>
                </a:extLst>
              </a:tr>
              <a:tr h="622605">
                <a:tc>
                  <a:txBody>
                    <a:bodyPr/>
                    <a:lstStyle/>
                    <a:p>
                      <a:pPr algn="l" fontAlgn="b"/>
                      <a:r>
                        <a:rPr lang="en-US" sz="1700" u="none" strike="noStrike">
                          <a:effectLst/>
                        </a:rPr>
                        <a:t>F2DPH % SPLY</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J</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nn-NO" sz="1700" u="none" strike="noStrike">
                          <a:effectLst/>
                        </a:rPr>
                        <a:t>((C / I) -1) x 100</a:t>
                      </a:r>
                      <a:endParaRPr lang="nn-NO" sz="17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700" u="none" strike="noStrike">
                          <a:effectLst/>
                        </a:rPr>
                        <a:t>-5.097855</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10</a:t>
                      </a:r>
                      <a:endParaRPr lang="en-US" sz="1500" b="1" i="0" u="none" strike="noStrike">
                        <a:solidFill>
                          <a:srgbClr val="000000"/>
                        </a:solidFill>
                        <a:effectLst/>
                        <a:latin typeface="Calibri" panose="020F0502020204030204" pitchFamily="34" charset="0"/>
                      </a:endParaRPr>
                    </a:p>
                  </a:txBody>
                  <a:tcPr marL="6346" marR="6346" marT="6346" marB="0" anchor="b"/>
                </a:tc>
                <a:tc>
                  <a:txBody>
                    <a:bodyPr/>
                    <a:lstStyle/>
                    <a:p>
                      <a:pPr algn="r" fontAlgn="b"/>
                      <a:r>
                        <a:rPr lang="en-US" sz="1500" u="none" strike="noStrike">
                          <a:effectLst/>
                        </a:rPr>
                        <a:t>15.00</a:t>
                      </a:r>
                      <a:endParaRPr lang="en-US" sz="1500" b="1"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2101488759"/>
                  </a:ext>
                </a:extLst>
              </a:tr>
              <a:tr h="323898">
                <a:tc>
                  <a:txBody>
                    <a:bodyPr/>
                    <a:lstStyle/>
                    <a:p>
                      <a:pPr algn="l" fontAlgn="b"/>
                      <a:r>
                        <a:rPr lang="en-US" sz="1700" u="none" strike="noStrike">
                          <a:effectLst/>
                        </a:rPr>
                        <a:t>Refer J to NPA Cell Chart</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K</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r>
                        <a:rPr lang="en-US" sz="1700" u="none" strike="noStrike">
                          <a:effectLst/>
                        </a:rPr>
                        <a:t>Cell ____0__</a:t>
                      </a:r>
                      <a:endParaRPr lang="en-US" sz="1700" b="1"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3462396790"/>
                  </a:ext>
                </a:extLst>
              </a:tr>
              <a:tr h="180780">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tc>
                  <a:txBody>
                    <a:bodyPr/>
                    <a:lstStyle/>
                    <a:p>
                      <a:pPr algn="l" fontAlgn="b"/>
                      <a:endParaRPr lang="en-US" sz="900" b="0" i="0" u="none" strike="noStrike">
                        <a:solidFill>
                          <a:srgbClr val="000000"/>
                        </a:solidFill>
                        <a:effectLst/>
                        <a:latin typeface="Calibri" panose="020F0502020204030204" pitchFamily="34" charset="0"/>
                      </a:endParaRPr>
                    </a:p>
                  </a:txBody>
                  <a:tcPr marL="6346" marR="6346" marT="6346" marB="0" anchor="b"/>
                </a:tc>
                <a:extLst>
                  <a:ext uri="{0D108BD9-81ED-4DB2-BD59-A6C34878D82A}">
                    <a16:rowId xmlns:a16="http://schemas.microsoft.com/office/drawing/2014/main" val="1243645530"/>
                  </a:ext>
                </a:extLst>
              </a:tr>
              <a:tr h="404872">
                <a:tc>
                  <a:txBody>
                    <a:bodyPr/>
                    <a:lstStyle/>
                    <a:p>
                      <a:pPr algn="l" fontAlgn="b"/>
                      <a:r>
                        <a:rPr lang="en-US" sz="1700" u="none" strike="noStrike">
                          <a:effectLst/>
                          <a:highlight>
                            <a:srgbClr val="D9D9D9"/>
                          </a:highlight>
                        </a:rPr>
                        <a:t>FLASH Reference</a:t>
                      </a:r>
                      <a:endParaRPr lang="en-US" sz="1700" b="1"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900" u="none" strike="noStrike">
                          <a:effectLst/>
                          <a:highlight>
                            <a:srgbClr val="D9D9D9"/>
                          </a:highlight>
                        </a:rPr>
                        <a:t> </a:t>
                      </a:r>
                      <a:endParaRPr lang="en-US" sz="9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Actual hours</a:t>
                      </a:r>
                      <a:endParaRPr lang="en-US" sz="1700" b="1"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highlight>
                            <a:srgbClr val="D9D9D9"/>
                          </a:highlight>
                        </a:rPr>
                        <a:t>5273</a:t>
                      </a:r>
                      <a:endParaRPr lang="en-US" sz="17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highlight>
                            <a:srgbClr val="D9D9D9"/>
                          </a:highlight>
                        </a:rPr>
                        <a:t>4758</a:t>
                      </a:r>
                      <a:endParaRPr lang="en-US" sz="17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 </a:t>
                      </a:r>
                      <a:endParaRPr lang="en-US" sz="17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900" u="none" strike="noStrike">
                          <a:effectLst/>
                          <a:highlight>
                            <a:srgbClr val="D9D9D9"/>
                          </a:highlight>
                        </a:rPr>
                        <a:t> </a:t>
                      </a:r>
                      <a:endParaRPr lang="en-US" sz="900" b="0" i="0" u="none" strike="noStrike">
                        <a:solidFill>
                          <a:srgbClr val="000000"/>
                        </a:solidFill>
                        <a:effectLst/>
                        <a:highlight>
                          <a:srgbClr val="D9D9D9"/>
                        </a:highlight>
                        <a:latin typeface="Calibri" panose="020F0502020204030204" pitchFamily="34" charset="0"/>
                      </a:endParaRPr>
                    </a:p>
                  </a:txBody>
                  <a:tcPr marL="6346" marR="6346" marT="6346" marB="0" anchor="b"/>
                </a:tc>
                <a:extLst>
                  <a:ext uri="{0D108BD9-81ED-4DB2-BD59-A6C34878D82A}">
                    <a16:rowId xmlns:a16="http://schemas.microsoft.com/office/drawing/2014/main" val="3778064428"/>
                  </a:ext>
                </a:extLst>
              </a:tr>
              <a:tr h="315069">
                <a:tc>
                  <a:txBody>
                    <a:bodyPr/>
                    <a:lstStyle/>
                    <a:p>
                      <a:pPr algn="l" fontAlgn="b"/>
                      <a:r>
                        <a:rPr lang="en-US" sz="900" u="none" strike="noStrike">
                          <a:effectLst/>
                          <a:highlight>
                            <a:srgbClr val="D9D9D9"/>
                          </a:highlight>
                        </a:rPr>
                        <a:t> </a:t>
                      </a:r>
                      <a:endParaRPr lang="en-US" sz="9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900" u="none" strike="noStrike">
                          <a:effectLst/>
                          <a:highlight>
                            <a:srgbClr val="D9D9D9"/>
                          </a:highlight>
                        </a:rPr>
                        <a:t> </a:t>
                      </a:r>
                      <a:endParaRPr lang="en-US" sz="9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SPLY hours</a:t>
                      </a:r>
                      <a:endParaRPr lang="en-US" sz="1700" b="1"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highlight>
                            <a:srgbClr val="D9D9D9"/>
                          </a:highlight>
                        </a:rPr>
                        <a:t>5224</a:t>
                      </a:r>
                      <a:endParaRPr lang="en-US" sz="17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highlight>
                            <a:srgbClr val="D9D9D9"/>
                          </a:highlight>
                        </a:rPr>
                        <a:t>466</a:t>
                      </a:r>
                      <a:endParaRPr lang="en-US" sz="17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highlight>
                            <a:srgbClr val="D9D9D9"/>
                          </a:highlight>
                        </a:rPr>
                        <a:t>300</a:t>
                      </a:r>
                      <a:endParaRPr lang="en-US" sz="17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900" u="none" strike="noStrike">
                          <a:effectLst/>
                          <a:highlight>
                            <a:srgbClr val="D9D9D9"/>
                          </a:highlight>
                        </a:rPr>
                        <a:t> </a:t>
                      </a:r>
                      <a:endParaRPr lang="en-US" sz="900" b="0" i="0" u="none" strike="noStrike">
                        <a:solidFill>
                          <a:srgbClr val="000000"/>
                        </a:solidFill>
                        <a:effectLst/>
                        <a:highlight>
                          <a:srgbClr val="D9D9D9"/>
                        </a:highlight>
                        <a:latin typeface="Calibri" panose="020F0502020204030204" pitchFamily="34" charset="0"/>
                      </a:endParaRPr>
                    </a:p>
                  </a:txBody>
                  <a:tcPr marL="6346" marR="6346" marT="6346" marB="0" anchor="b"/>
                </a:tc>
                <a:extLst>
                  <a:ext uri="{0D108BD9-81ED-4DB2-BD59-A6C34878D82A}">
                    <a16:rowId xmlns:a16="http://schemas.microsoft.com/office/drawing/2014/main" val="3582645149"/>
                  </a:ext>
                </a:extLst>
              </a:tr>
              <a:tr h="315069">
                <a:tc>
                  <a:txBody>
                    <a:bodyPr/>
                    <a:lstStyle/>
                    <a:p>
                      <a:pPr algn="l" fontAlgn="b"/>
                      <a:r>
                        <a:rPr lang="en-US" sz="900" u="none" strike="noStrike">
                          <a:effectLst/>
                          <a:highlight>
                            <a:srgbClr val="D9D9D9"/>
                          </a:highlight>
                        </a:rPr>
                        <a:t> </a:t>
                      </a:r>
                      <a:endParaRPr lang="en-US" sz="9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900" u="none" strike="noStrike">
                          <a:effectLst/>
                          <a:highlight>
                            <a:srgbClr val="D9D9D9"/>
                          </a:highlight>
                        </a:rPr>
                        <a:t> </a:t>
                      </a:r>
                      <a:endParaRPr lang="en-US" sz="9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Training hours</a:t>
                      </a:r>
                      <a:endParaRPr lang="en-US" sz="1700" b="1"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r" fontAlgn="b"/>
                      <a:r>
                        <a:rPr lang="en-US" sz="1700" u="none" strike="noStrike">
                          <a:effectLst/>
                          <a:highlight>
                            <a:srgbClr val="D9D9D9"/>
                          </a:highlight>
                        </a:rPr>
                        <a:t>515</a:t>
                      </a:r>
                      <a:endParaRPr lang="en-US" sz="17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 </a:t>
                      </a:r>
                      <a:endParaRPr lang="en-US" sz="17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1700" u="none" strike="noStrike">
                          <a:effectLst/>
                          <a:highlight>
                            <a:srgbClr val="D9D9D9"/>
                          </a:highlight>
                        </a:rPr>
                        <a:t> </a:t>
                      </a:r>
                      <a:endParaRPr lang="en-US" sz="1700" b="0" i="0" u="none" strike="noStrike">
                        <a:solidFill>
                          <a:srgbClr val="000000"/>
                        </a:solidFill>
                        <a:effectLst/>
                        <a:highlight>
                          <a:srgbClr val="D9D9D9"/>
                        </a:highlight>
                        <a:latin typeface="Calibri" panose="020F0502020204030204" pitchFamily="34" charset="0"/>
                      </a:endParaRPr>
                    </a:p>
                  </a:txBody>
                  <a:tcPr marL="6346" marR="6346" marT="6346" marB="0" anchor="b"/>
                </a:tc>
                <a:tc>
                  <a:txBody>
                    <a:bodyPr/>
                    <a:lstStyle/>
                    <a:p>
                      <a:pPr algn="l" fontAlgn="b"/>
                      <a:r>
                        <a:rPr lang="en-US" sz="900" u="none" strike="noStrike" dirty="0">
                          <a:effectLst/>
                          <a:highlight>
                            <a:srgbClr val="D9D9D9"/>
                          </a:highlight>
                        </a:rPr>
                        <a:t> </a:t>
                      </a:r>
                      <a:endParaRPr lang="en-US" sz="900" b="0" i="0" u="none" strike="noStrike" dirty="0">
                        <a:solidFill>
                          <a:srgbClr val="000000"/>
                        </a:solidFill>
                        <a:effectLst/>
                        <a:highlight>
                          <a:srgbClr val="D9D9D9"/>
                        </a:highlight>
                        <a:latin typeface="Calibri" panose="020F0502020204030204" pitchFamily="34" charset="0"/>
                      </a:endParaRPr>
                    </a:p>
                  </a:txBody>
                  <a:tcPr marL="6346" marR="6346" marT="6346" marB="0" anchor="b"/>
                </a:tc>
                <a:extLst>
                  <a:ext uri="{0D108BD9-81ED-4DB2-BD59-A6C34878D82A}">
                    <a16:rowId xmlns:a16="http://schemas.microsoft.com/office/drawing/2014/main" val="3086791274"/>
                  </a:ext>
                </a:extLst>
              </a:tr>
            </a:tbl>
          </a:graphicData>
        </a:graphic>
      </p:graphicFrame>
      <p:sp>
        <p:nvSpPr>
          <p:cNvPr id="3" name="Title 2">
            <a:extLst>
              <a:ext uri="{FF2B5EF4-FFF2-40B4-BE49-F238E27FC236}">
                <a16:creationId xmlns:a16="http://schemas.microsoft.com/office/drawing/2014/main" id="{CC680F25-D1E6-DFDE-2F42-77DB9D50EBDD}"/>
              </a:ext>
            </a:extLst>
          </p:cNvPr>
          <p:cNvSpPr>
            <a:spLocks noGrp="1"/>
          </p:cNvSpPr>
          <p:nvPr>
            <p:ph type="title"/>
          </p:nvPr>
        </p:nvSpPr>
        <p:spPr>
          <a:xfrm>
            <a:off x="469900" y="93519"/>
            <a:ext cx="11252200" cy="643172"/>
          </a:xfrm>
        </p:spPr>
        <p:txBody>
          <a:bodyPr/>
          <a:lstStyle/>
          <a:p>
            <a:r>
              <a:rPr lang="en-US" sz="3600" dirty="0"/>
              <a:t>F2DPH Calculations</a:t>
            </a:r>
          </a:p>
        </p:txBody>
      </p:sp>
    </p:spTree>
    <p:extLst>
      <p:ext uri="{BB962C8B-B14F-4D97-AF65-F5344CB8AC3E}">
        <p14:creationId xmlns:p14="http://schemas.microsoft.com/office/powerpoint/2010/main" val="357345316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E756D-A842-9CA5-AA28-173F9D1C32AB}"/>
              </a:ext>
            </a:extLst>
          </p:cNvPr>
          <p:cNvSpPr>
            <a:spLocks noGrp="1"/>
          </p:cNvSpPr>
          <p:nvPr>
            <p:ph type="ctrTitle"/>
          </p:nvPr>
        </p:nvSpPr>
        <p:spPr>
          <a:xfrm>
            <a:off x="1524003" y="200025"/>
            <a:ext cx="9144000" cy="971550"/>
          </a:xfrm>
        </p:spPr>
        <p:txBody>
          <a:bodyPr/>
          <a:lstStyle/>
          <a:p>
            <a:r>
              <a:rPr lang="en-US" dirty="0"/>
              <a:t>CSV Data Sources</a:t>
            </a:r>
          </a:p>
        </p:txBody>
      </p:sp>
      <p:sp>
        <p:nvSpPr>
          <p:cNvPr id="3" name="Content Placeholder 2">
            <a:extLst>
              <a:ext uri="{FF2B5EF4-FFF2-40B4-BE49-F238E27FC236}">
                <a16:creationId xmlns:a16="http://schemas.microsoft.com/office/drawing/2014/main" id="{B13122A3-A5EF-C463-C192-0E6F2DF6036E}"/>
              </a:ext>
            </a:extLst>
          </p:cNvPr>
          <p:cNvSpPr>
            <a:spLocks noGrp="1"/>
          </p:cNvSpPr>
          <p:nvPr>
            <p:ph type="subTitle" idx="1"/>
          </p:nvPr>
        </p:nvSpPr>
        <p:spPr>
          <a:xfrm>
            <a:off x="1524003" y="1438275"/>
            <a:ext cx="9144000" cy="5024438"/>
          </a:xfrm>
        </p:spPr>
        <p:txBody>
          <a:bodyPr>
            <a:noAutofit/>
          </a:bodyPr>
          <a:lstStyle/>
          <a:p>
            <a:pPr algn="l"/>
            <a:r>
              <a:rPr lang="en-US" sz="1800" dirty="0">
                <a:latin typeface="Times New Roman" panose="02020603050405020304" pitchFamily="18" charset="0"/>
              </a:rPr>
              <a:t>• </a:t>
            </a:r>
            <a:r>
              <a:rPr lang="en-US" sz="1800" dirty="0"/>
              <a:t>End of Run (EOR)– Automated/Mechanized Volumes</a:t>
            </a:r>
          </a:p>
          <a:p>
            <a:pPr algn="l"/>
            <a:endParaRPr lang="en-US" sz="1800" dirty="0"/>
          </a:p>
          <a:p>
            <a:pPr algn="l"/>
            <a:r>
              <a:rPr lang="en-US" sz="1800" dirty="0">
                <a:latin typeface="Times New Roman" panose="02020603050405020304" pitchFamily="18" charset="0"/>
              </a:rPr>
              <a:t>• </a:t>
            </a:r>
            <a:r>
              <a:rPr lang="en-US" sz="1800" dirty="0"/>
              <a:t>eFlash – Manual Distribution Volumes, PO Box Volumes and Work hours</a:t>
            </a:r>
          </a:p>
          <a:p>
            <a:pPr algn="l"/>
            <a:endParaRPr lang="en-US" sz="1800" dirty="0"/>
          </a:p>
          <a:p>
            <a:pPr algn="l"/>
            <a:r>
              <a:rPr lang="en-US" sz="1800" dirty="0">
                <a:latin typeface="Times New Roman" panose="02020603050405020304" pitchFamily="18" charset="0"/>
              </a:rPr>
              <a:t>• </a:t>
            </a:r>
            <a:r>
              <a:rPr lang="en-US" sz="1800" dirty="0"/>
              <a:t>Window Operations Survey or (WOS) – Earned Hours and Workload</a:t>
            </a:r>
          </a:p>
          <a:p>
            <a:pPr algn="l"/>
            <a:endParaRPr lang="en-US" sz="1800" dirty="0"/>
          </a:p>
          <a:p>
            <a:pPr algn="l"/>
            <a:r>
              <a:rPr lang="en-US" sz="1800" dirty="0">
                <a:latin typeface="Times New Roman" panose="02020603050405020304" pitchFamily="18" charset="0"/>
              </a:rPr>
              <a:t>• </a:t>
            </a:r>
            <a:r>
              <a:rPr lang="en-US" sz="1800" dirty="0"/>
              <a:t>WebBATS – Number of Callers</a:t>
            </a:r>
          </a:p>
          <a:p>
            <a:pPr algn="l"/>
            <a:endParaRPr lang="en-US" sz="1800" dirty="0"/>
          </a:p>
          <a:p>
            <a:pPr algn="l"/>
            <a:r>
              <a:rPr lang="en-US" sz="1800" dirty="0">
                <a:latin typeface="Times New Roman" panose="02020603050405020304" pitchFamily="18" charset="0"/>
              </a:rPr>
              <a:t>• </a:t>
            </a:r>
            <a:r>
              <a:rPr lang="en-US" sz="1800" dirty="0"/>
              <a:t>Address Management System or (AMS) – Numbers of Routes and Deliveries</a:t>
            </a:r>
          </a:p>
          <a:p>
            <a:pPr algn="l"/>
            <a:endParaRPr lang="en-US" sz="1800" dirty="0"/>
          </a:p>
          <a:p>
            <a:pPr algn="l"/>
            <a:r>
              <a:rPr lang="en-US" sz="1800" dirty="0">
                <a:latin typeface="Times New Roman" panose="02020603050405020304" pitchFamily="18" charset="0"/>
              </a:rPr>
              <a:t>• </a:t>
            </a:r>
            <a:r>
              <a:rPr lang="en-US" sz="1800" dirty="0"/>
              <a:t>WebCOINS – On Rolls Complement and MPOO Designation</a:t>
            </a:r>
          </a:p>
          <a:p>
            <a:pPr algn="l"/>
            <a:endParaRPr lang="en-US" sz="1800" dirty="0"/>
          </a:p>
          <a:p>
            <a:pPr algn="l"/>
            <a:r>
              <a:rPr lang="en-US" sz="1800" dirty="0">
                <a:latin typeface="Times New Roman" panose="02020603050405020304" pitchFamily="18" charset="0"/>
              </a:rPr>
              <a:t>• </a:t>
            </a:r>
            <a:r>
              <a:rPr lang="en-US" sz="1800" dirty="0"/>
              <a:t>Facilities Database – Office Level</a:t>
            </a:r>
          </a:p>
        </p:txBody>
      </p:sp>
      <p:sp>
        <p:nvSpPr>
          <p:cNvPr id="4" name="Date Placeholder 3">
            <a:extLst>
              <a:ext uri="{FF2B5EF4-FFF2-40B4-BE49-F238E27FC236}">
                <a16:creationId xmlns:a16="http://schemas.microsoft.com/office/drawing/2014/main" id="{AABA97AF-BC7D-B624-6A5D-67E3E9E0C2EC}"/>
              </a:ext>
            </a:extLst>
          </p:cNvPr>
          <p:cNvSpPr>
            <a:spLocks noGrp="1"/>
          </p:cNvSpPr>
          <p:nvPr>
            <p:ph type="dt" sz="half" idx="4294967295"/>
          </p:nvPr>
        </p:nvSpPr>
        <p:spPr>
          <a:xfrm>
            <a:off x="0" y="6462713"/>
            <a:ext cx="1143000" cy="236537"/>
          </a:xfrm>
        </p:spPr>
        <p:txBody>
          <a:bodyPr/>
          <a:lstStyle/>
          <a:p>
            <a:pPr defTabSz="914377">
              <a:defRPr/>
            </a:pPr>
            <a:fld id="{2A32838C-5203-4A13-8D33-AC09A091C092}" type="datetime1">
              <a:rPr lang="en-US">
                <a:solidFill>
                  <a:prstClr val="white">
                    <a:lumMod val="85000"/>
                  </a:prstClr>
                </a:solidFill>
                <a:latin typeface="Arial" panose="020B0604020202020204"/>
              </a:rPr>
              <a:pPr defTabSz="914377">
                <a:defRPr/>
              </a:pPr>
              <a:t>9/24/2024</a:t>
            </a:fld>
            <a:endParaRPr lang="en-US" dirty="0">
              <a:solidFill>
                <a:prstClr val="white">
                  <a:lumMod val="85000"/>
                </a:prstClr>
              </a:solidFill>
              <a:latin typeface="Arial" panose="020B0604020202020204"/>
            </a:endParaRPr>
          </a:p>
        </p:txBody>
      </p:sp>
    </p:spTree>
    <p:extLst>
      <p:ext uri="{BB962C8B-B14F-4D97-AF65-F5344CB8AC3E}">
        <p14:creationId xmlns:p14="http://schemas.microsoft.com/office/powerpoint/2010/main" val="10308503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E756D-A842-9CA5-AA28-173F9D1C32AB}"/>
              </a:ext>
            </a:extLst>
          </p:cNvPr>
          <p:cNvSpPr>
            <a:spLocks noGrp="1"/>
          </p:cNvSpPr>
          <p:nvPr>
            <p:ph type="ctrTitle"/>
          </p:nvPr>
        </p:nvSpPr>
        <p:spPr>
          <a:xfrm>
            <a:off x="1524003" y="86627"/>
            <a:ext cx="9144000" cy="702645"/>
          </a:xfrm>
        </p:spPr>
        <p:txBody>
          <a:bodyPr>
            <a:normAutofit/>
          </a:bodyPr>
          <a:lstStyle/>
          <a:p>
            <a:r>
              <a:rPr lang="en-US" sz="2400" dirty="0"/>
              <a:t>Workload Associated by Labor Distribution Code (LDC)</a:t>
            </a:r>
          </a:p>
        </p:txBody>
      </p:sp>
      <p:sp>
        <p:nvSpPr>
          <p:cNvPr id="3" name="Content Placeholder 2">
            <a:extLst>
              <a:ext uri="{FF2B5EF4-FFF2-40B4-BE49-F238E27FC236}">
                <a16:creationId xmlns:a16="http://schemas.microsoft.com/office/drawing/2014/main" id="{B13122A3-A5EF-C463-C192-0E6F2DF6036E}"/>
              </a:ext>
            </a:extLst>
          </p:cNvPr>
          <p:cNvSpPr>
            <a:spLocks noGrp="1"/>
          </p:cNvSpPr>
          <p:nvPr>
            <p:ph type="subTitle" idx="1"/>
          </p:nvPr>
        </p:nvSpPr>
        <p:spPr>
          <a:xfrm>
            <a:off x="601579" y="1020278"/>
            <a:ext cx="11261558" cy="5296301"/>
          </a:xfrm>
        </p:spPr>
        <p:txBody>
          <a:bodyPr>
            <a:noAutofit/>
          </a:bodyPr>
          <a:lstStyle/>
          <a:p>
            <a:pPr marL="285744" indent="-285744" algn="l">
              <a:buFont typeface="Arial" panose="020B0604020202020204" pitchFamily="34" charset="0"/>
              <a:buChar char="•"/>
            </a:pPr>
            <a:r>
              <a:rPr lang="en-US" sz="1800" dirty="0"/>
              <a:t>LDC 41- Automated operations (Delivery Point Sequence (DPS), Automated Delivery Unit Sorter (ADUS) and Small Delivery Unit Sorter (SDUS)</a:t>
            </a:r>
          </a:p>
          <a:p>
            <a:pPr marL="285744" indent="-285744" algn="l">
              <a:buFont typeface="Arial" panose="020B0604020202020204" pitchFamily="34" charset="0"/>
              <a:buChar char="•"/>
            </a:pPr>
            <a:endParaRPr lang="en-US" sz="1800" dirty="0"/>
          </a:p>
          <a:p>
            <a:pPr marL="285744" indent="-285744" algn="l">
              <a:buFont typeface="Arial" panose="020B0604020202020204" pitchFamily="34" charset="0"/>
              <a:buChar char="•"/>
            </a:pPr>
            <a:r>
              <a:rPr lang="en-US" sz="1800" dirty="0"/>
              <a:t>LDC 42- Business services related to Business Reply Mail (BRM), Postage Due (PD), Merchandise Return Service (MRS) and Parcel Return Service (PRS) </a:t>
            </a:r>
          </a:p>
          <a:p>
            <a:pPr marL="285744" indent="-285744" algn="l">
              <a:buFont typeface="Arial" panose="020B0604020202020204" pitchFamily="34" charset="0"/>
              <a:buChar char="•"/>
            </a:pPr>
            <a:endParaRPr lang="en-US" sz="1800" dirty="0"/>
          </a:p>
          <a:p>
            <a:pPr marL="285744" indent="-285744" algn="l">
              <a:buFont typeface="Arial" panose="020B0604020202020204" pitchFamily="34" charset="0"/>
              <a:buChar char="•"/>
            </a:pPr>
            <a:r>
              <a:rPr lang="en-US" sz="1800" dirty="0"/>
              <a:t>LDC 43- Manual distribution operations (Letters, Flats, Parcels and Allied distribution)</a:t>
            </a:r>
          </a:p>
          <a:p>
            <a:pPr algn="l"/>
            <a:endParaRPr lang="en-US" sz="1800" dirty="0"/>
          </a:p>
          <a:p>
            <a:pPr marL="285750" indent="-285750" algn="l">
              <a:buFont typeface="Arial" panose="020B0604020202020204" pitchFamily="34" charset="0"/>
              <a:buChar char="•"/>
            </a:pPr>
            <a:r>
              <a:rPr lang="en-US" sz="1800" dirty="0"/>
              <a:t>LDC 44- PO Box distribution operations (Letters, Flats, Box parcels and Delivery Point Sequence)</a:t>
            </a:r>
          </a:p>
          <a:p>
            <a:pPr algn="l"/>
            <a:endParaRPr lang="en-US" sz="1800" dirty="0"/>
          </a:p>
          <a:p>
            <a:pPr marL="285744" indent="-285744" algn="l">
              <a:buFont typeface="Arial" panose="020B0604020202020204" pitchFamily="34" charset="0"/>
              <a:buChar char="•"/>
            </a:pPr>
            <a:r>
              <a:rPr lang="en-US" sz="1800" dirty="0"/>
              <a:t>LDC 45- Retail window operations</a:t>
            </a:r>
          </a:p>
          <a:p>
            <a:pPr algn="l"/>
            <a:endParaRPr lang="en-US" sz="1800" dirty="0"/>
          </a:p>
          <a:p>
            <a:pPr marL="285744" indent="-285744" algn="l">
              <a:buFont typeface="Arial" panose="020B0604020202020204" pitchFamily="34" charset="0"/>
              <a:buChar char="•"/>
            </a:pPr>
            <a:r>
              <a:rPr lang="en-US" sz="1800" dirty="0"/>
              <a:t>LDC 48- Allied back-office function four administrative duties</a:t>
            </a:r>
          </a:p>
        </p:txBody>
      </p:sp>
      <p:sp>
        <p:nvSpPr>
          <p:cNvPr id="4" name="Date Placeholder 3">
            <a:extLst>
              <a:ext uri="{FF2B5EF4-FFF2-40B4-BE49-F238E27FC236}">
                <a16:creationId xmlns:a16="http://schemas.microsoft.com/office/drawing/2014/main" id="{AABA97AF-BC7D-B624-6A5D-67E3E9E0C2EC}"/>
              </a:ext>
            </a:extLst>
          </p:cNvPr>
          <p:cNvSpPr>
            <a:spLocks noGrp="1"/>
          </p:cNvSpPr>
          <p:nvPr>
            <p:ph type="dt" sz="half" idx="4294967295"/>
          </p:nvPr>
        </p:nvSpPr>
        <p:spPr>
          <a:xfrm>
            <a:off x="0" y="6462713"/>
            <a:ext cx="1143000" cy="236537"/>
          </a:xfrm>
        </p:spPr>
        <p:txBody>
          <a:bodyPr/>
          <a:lstStyle/>
          <a:p>
            <a:pPr defTabSz="914377">
              <a:defRPr/>
            </a:pPr>
            <a:fld id="{2A32838C-5203-4A13-8D33-AC09A091C092}" type="datetime1">
              <a:rPr lang="en-US">
                <a:solidFill>
                  <a:prstClr val="white">
                    <a:lumMod val="85000"/>
                  </a:prstClr>
                </a:solidFill>
                <a:latin typeface="Arial" panose="020B0604020202020204"/>
              </a:rPr>
              <a:pPr defTabSz="914377">
                <a:defRPr/>
              </a:pPr>
              <a:t>9/24/2024</a:t>
            </a:fld>
            <a:endParaRPr lang="en-US" dirty="0">
              <a:solidFill>
                <a:prstClr val="white">
                  <a:lumMod val="85000"/>
                </a:prstClr>
              </a:solidFill>
              <a:latin typeface="Arial" panose="020B0604020202020204"/>
            </a:endParaRPr>
          </a:p>
        </p:txBody>
      </p:sp>
    </p:spTree>
    <p:extLst>
      <p:ext uri="{BB962C8B-B14F-4D97-AF65-F5344CB8AC3E}">
        <p14:creationId xmlns:p14="http://schemas.microsoft.com/office/powerpoint/2010/main" val="4108821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BDFE9-8664-AAB9-CC37-C96C8890C901}"/>
              </a:ext>
            </a:extLst>
          </p:cNvPr>
          <p:cNvSpPr>
            <a:spLocks noGrp="1"/>
          </p:cNvSpPr>
          <p:nvPr>
            <p:ph type="title"/>
          </p:nvPr>
        </p:nvSpPr>
        <p:spPr/>
        <p:txBody>
          <a:bodyPr/>
          <a:lstStyle/>
          <a:p>
            <a:r>
              <a:rPr lang="en-US" dirty="0"/>
              <a:t>CSV Sign-In </a:t>
            </a:r>
          </a:p>
        </p:txBody>
      </p:sp>
      <p:sp>
        <p:nvSpPr>
          <p:cNvPr id="4" name="Date Placeholder 3">
            <a:extLst>
              <a:ext uri="{FF2B5EF4-FFF2-40B4-BE49-F238E27FC236}">
                <a16:creationId xmlns:a16="http://schemas.microsoft.com/office/drawing/2014/main" id="{C6DF0403-8739-AE5F-15AD-2596B2CFC0B1}"/>
              </a:ext>
            </a:extLst>
          </p:cNvPr>
          <p:cNvSpPr>
            <a:spLocks noGrp="1"/>
          </p:cNvSpPr>
          <p:nvPr>
            <p:ph type="dt" sz="half" idx="2"/>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grpSp>
        <p:nvGrpSpPr>
          <p:cNvPr id="5" name="Group 4">
            <a:extLst>
              <a:ext uri="{FF2B5EF4-FFF2-40B4-BE49-F238E27FC236}">
                <a16:creationId xmlns:a16="http://schemas.microsoft.com/office/drawing/2014/main" id="{BDD9BCAF-C038-27A3-91E5-107E885FF21E}"/>
              </a:ext>
            </a:extLst>
          </p:cNvPr>
          <p:cNvGrpSpPr/>
          <p:nvPr/>
        </p:nvGrpSpPr>
        <p:grpSpPr>
          <a:xfrm>
            <a:off x="372965" y="1031535"/>
            <a:ext cx="11241283" cy="4794931"/>
            <a:chOff x="371378" y="1020129"/>
            <a:chExt cx="11241282" cy="5473661"/>
          </a:xfrm>
        </p:grpSpPr>
        <p:pic>
          <p:nvPicPr>
            <p:cNvPr id="6" name="Picture 5">
              <a:extLst>
                <a:ext uri="{FF2B5EF4-FFF2-40B4-BE49-F238E27FC236}">
                  <a16:creationId xmlns:a16="http://schemas.microsoft.com/office/drawing/2014/main" id="{C47AC2B6-9D2F-5C98-3D60-66A7D1E9F521}"/>
                </a:ext>
              </a:extLst>
            </p:cNvPr>
            <p:cNvPicPr>
              <a:picLocks noChangeAspect="1"/>
            </p:cNvPicPr>
            <p:nvPr/>
          </p:nvPicPr>
          <p:blipFill>
            <a:blip r:embed="rId2"/>
            <a:stretch>
              <a:fillRect/>
            </a:stretch>
          </p:blipFill>
          <p:spPr>
            <a:xfrm>
              <a:off x="7733655" y="1020129"/>
              <a:ext cx="3879005" cy="5473661"/>
            </a:xfrm>
            <a:prstGeom prst="rect">
              <a:avLst/>
            </a:prstGeom>
            <a:ln w="28575">
              <a:solidFill>
                <a:schemeClr val="tx1"/>
              </a:solidFill>
            </a:ln>
          </p:spPr>
        </p:pic>
        <p:grpSp>
          <p:nvGrpSpPr>
            <p:cNvPr id="7" name="Group 6">
              <a:extLst>
                <a:ext uri="{FF2B5EF4-FFF2-40B4-BE49-F238E27FC236}">
                  <a16:creationId xmlns:a16="http://schemas.microsoft.com/office/drawing/2014/main" id="{7CD5EAB2-CA9A-AD41-D266-577966E8A391}"/>
                </a:ext>
              </a:extLst>
            </p:cNvPr>
            <p:cNvGrpSpPr/>
            <p:nvPr/>
          </p:nvGrpSpPr>
          <p:grpSpPr>
            <a:xfrm>
              <a:off x="371378" y="1027878"/>
              <a:ext cx="3789336" cy="5246177"/>
              <a:chOff x="1063605" y="1866063"/>
              <a:chExt cx="3014384" cy="3813622"/>
            </a:xfrm>
          </p:grpSpPr>
          <p:pic>
            <p:nvPicPr>
              <p:cNvPr id="14" name="Picture 13">
                <a:extLst>
                  <a:ext uri="{FF2B5EF4-FFF2-40B4-BE49-F238E27FC236}">
                    <a16:creationId xmlns:a16="http://schemas.microsoft.com/office/drawing/2014/main" id="{2641C60E-B78D-E02B-E19D-DDED19C06111}"/>
                  </a:ext>
                </a:extLst>
              </p:cNvPr>
              <p:cNvPicPr>
                <a:picLocks noChangeAspect="1"/>
              </p:cNvPicPr>
              <p:nvPr/>
            </p:nvPicPr>
            <p:blipFill>
              <a:blip r:embed="rId3"/>
              <a:stretch>
                <a:fillRect/>
              </a:stretch>
            </p:blipFill>
            <p:spPr>
              <a:xfrm>
                <a:off x="1063605" y="1866063"/>
                <a:ext cx="3014384" cy="3813622"/>
              </a:xfrm>
              <a:prstGeom prst="rect">
                <a:avLst/>
              </a:prstGeom>
              <a:ln w="28575">
                <a:solidFill>
                  <a:schemeClr val="tx1"/>
                </a:solidFill>
              </a:ln>
            </p:spPr>
          </p:pic>
          <p:sp>
            <p:nvSpPr>
              <p:cNvPr id="15" name="Oval 14">
                <a:extLst>
                  <a:ext uri="{FF2B5EF4-FFF2-40B4-BE49-F238E27FC236}">
                    <a16:creationId xmlns:a16="http://schemas.microsoft.com/office/drawing/2014/main" id="{775840A6-95F0-DD4E-A4C3-6D8589F392F2}"/>
                  </a:ext>
                </a:extLst>
              </p:cNvPr>
              <p:cNvSpPr/>
              <p:nvPr/>
            </p:nvSpPr>
            <p:spPr>
              <a:xfrm>
                <a:off x="1309607" y="2064025"/>
                <a:ext cx="557939" cy="36146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noFill/>
                  <a:latin typeface="Arial" panose="020B0604020202020204"/>
                </a:endParaRPr>
              </a:p>
            </p:txBody>
          </p:sp>
          <p:sp>
            <p:nvSpPr>
              <p:cNvPr id="16" name="Oval 15">
                <a:extLst>
                  <a:ext uri="{FF2B5EF4-FFF2-40B4-BE49-F238E27FC236}">
                    <a16:creationId xmlns:a16="http://schemas.microsoft.com/office/drawing/2014/main" id="{D60CB012-084A-68E5-AF56-F71D150BEC55}"/>
                  </a:ext>
                </a:extLst>
              </p:cNvPr>
              <p:cNvSpPr/>
              <p:nvPr/>
            </p:nvSpPr>
            <p:spPr>
              <a:xfrm>
                <a:off x="3097078" y="5385660"/>
                <a:ext cx="746502" cy="237641"/>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noFill/>
                  <a:latin typeface="Arial" panose="020B0604020202020204"/>
                </a:endParaRPr>
              </a:p>
            </p:txBody>
          </p:sp>
        </p:grpSp>
        <p:sp>
          <p:nvSpPr>
            <p:cNvPr id="8" name="TextBox 7">
              <a:extLst>
                <a:ext uri="{FF2B5EF4-FFF2-40B4-BE49-F238E27FC236}">
                  <a16:creationId xmlns:a16="http://schemas.microsoft.com/office/drawing/2014/main" id="{A1B8451E-7F88-8A61-7692-A527CAC8C30D}"/>
                </a:ext>
              </a:extLst>
            </p:cNvPr>
            <p:cNvSpPr txBox="1"/>
            <p:nvPr/>
          </p:nvSpPr>
          <p:spPr>
            <a:xfrm>
              <a:off x="4660632" y="1483496"/>
              <a:ext cx="2609527" cy="1054029"/>
            </a:xfrm>
            <a:prstGeom prst="rect">
              <a:avLst/>
            </a:prstGeom>
            <a:noFill/>
            <a:ln w="28575">
              <a:solidFill>
                <a:srgbClr val="FD0B0B"/>
              </a:solidFill>
            </a:ln>
          </p:spPr>
          <p:txBody>
            <a:bodyPr wrap="square" rtlCol="0" anchor="ctr">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Blue Page</a:t>
              </a:r>
            </a:p>
            <a:p>
              <a:pPr marL="285744" indent="-285744" defTabSz="914377">
                <a:buFont typeface="Arial" panose="020B0604020202020204" pitchFamily="34" charset="0"/>
                <a:buChar char="•"/>
              </a:pPr>
              <a:r>
                <a:rPr lang="en-US" dirty="0">
                  <a:solidFill>
                    <a:prstClr val="black"/>
                  </a:solidFill>
                  <a:latin typeface="Arial" panose="020B0604020202020204"/>
                </a:rPr>
                <a:t>“My Work”</a:t>
              </a:r>
            </a:p>
            <a:p>
              <a:pPr marL="285744" indent="-285744" defTabSz="914377">
                <a:buFont typeface="Arial" panose="020B0604020202020204" pitchFamily="34" charset="0"/>
                <a:buChar char="•"/>
              </a:pPr>
              <a:r>
                <a:rPr lang="en-US" dirty="0">
                  <a:solidFill>
                    <a:prstClr val="black"/>
                  </a:solidFill>
                  <a:latin typeface="Arial" panose="020B0604020202020204"/>
                </a:rPr>
                <a:t>“Workhour Efficiency</a:t>
              </a:r>
            </a:p>
          </p:txBody>
        </p:sp>
        <p:sp>
          <p:nvSpPr>
            <p:cNvPr id="9" name="TextBox 8">
              <a:extLst>
                <a:ext uri="{FF2B5EF4-FFF2-40B4-BE49-F238E27FC236}">
                  <a16:creationId xmlns:a16="http://schemas.microsoft.com/office/drawing/2014/main" id="{97DD0BD6-FDDE-4940-2647-20091E20C13D}"/>
                </a:ext>
              </a:extLst>
            </p:cNvPr>
            <p:cNvSpPr txBox="1"/>
            <p:nvPr/>
          </p:nvSpPr>
          <p:spPr>
            <a:xfrm>
              <a:off x="4660632" y="4431832"/>
              <a:ext cx="2609527" cy="421612"/>
            </a:xfrm>
            <a:prstGeom prst="rect">
              <a:avLst/>
            </a:prstGeom>
            <a:noFill/>
            <a:ln w="28575">
              <a:solidFill>
                <a:srgbClr val="92D050"/>
              </a:solidFill>
            </a:ln>
          </p:spPr>
          <p:txBody>
            <a:bodyPr wrap="square" rtlCol="0" anchor="ctr">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CSV</a:t>
              </a:r>
            </a:p>
          </p:txBody>
        </p:sp>
        <p:sp>
          <p:nvSpPr>
            <p:cNvPr id="10" name="Oval 9">
              <a:extLst>
                <a:ext uri="{FF2B5EF4-FFF2-40B4-BE49-F238E27FC236}">
                  <a16:creationId xmlns:a16="http://schemas.microsoft.com/office/drawing/2014/main" id="{03D570FE-2477-A2A1-0C09-EF4B4035B1AA}"/>
                </a:ext>
              </a:extLst>
            </p:cNvPr>
            <p:cNvSpPr/>
            <p:nvPr/>
          </p:nvSpPr>
          <p:spPr>
            <a:xfrm>
              <a:off x="9980909" y="3756959"/>
              <a:ext cx="903332" cy="412085"/>
            </a:xfrm>
            <a:prstGeom prst="ellipse">
              <a:avLst/>
            </a:prstGeom>
            <a:noFill/>
            <a:ln w="28575">
              <a:solidFill>
                <a:srgbClr val="5DE61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latin typeface="Arial" panose="020B0604020202020204"/>
              </a:endParaRPr>
            </a:p>
          </p:txBody>
        </p:sp>
        <p:cxnSp>
          <p:nvCxnSpPr>
            <p:cNvPr id="11" name="Straight Arrow Connector 10">
              <a:extLst>
                <a:ext uri="{FF2B5EF4-FFF2-40B4-BE49-F238E27FC236}">
                  <a16:creationId xmlns:a16="http://schemas.microsoft.com/office/drawing/2014/main" id="{98D31BDE-6FBB-59B1-2E51-A2A6AF9CBA1F}"/>
                </a:ext>
              </a:extLst>
            </p:cNvPr>
            <p:cNvCxnSpPr>
              <a:cxnSpLocks/>
            </p:cNvCxnSpPr>
            <p:nvPr/>
          </p:nvCxnSpPr>
          <p:spPr>
            <a:xfrm flipV="1">
              <a:off x="7423688" y="4107051"/>
              <a:ext cx="2448732" cy="557939"/>
            </a:xfrm>
            <a:prstGeom prst="straightConnector1">
              <a:avLst/>
            </a:prstGeom>
            <a:ln w="28575">
              <a:solidFill>
                <a:srgbClr val="5DE616"/>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1F67FC7-11B8-3A79-8DF0-E7CF3BEAFCD5}"/>
                </a:ext>
              </a:extLst>
            </p:cNvPr>
            <p:cNvCxnSpPr>
              <a:cxnSpLocks/>
            </p:cNvCxnSpPr>
            <p:nvPr/>
          </p:nvCxnSpPr>
          <p:spPr>
            <a:xfrm flipH="1" flipV="1">
              <a:off x="1456836" y="1650569"/>
              <a:ext cx="3045422" cy="359941"/>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669A051-70C0-AE79-772C-2FFDB3B5D745}"/>
                </a:ext>
              </a:extLst>
            </p:cNvPr>
            <p:cNvCxnSpPr/>
            <p:nvPr/>
          </p:nvCxnSpPr>
          <p:spPr>
            <a:xfrm flipH="1">
              <a:off x="3750590" y="2293749"/>
              <a:ext cx="751668" cy="344062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648353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BDFE9-8664-AAB9-CC37-C96C8890C901}"/>
              </a:ext>
            </a:extLst>
          </p:cNvPr>
          <p:cNvSpPr>
            <a:spLocks noGrp="1"/>
          </p:cNvSpPr>
          <p:nvPr>
            <p:ph type="title"/>
          </p:nvPr>
        </p:nvSpPr>
        <p:spPr/>
        <p:txBody>
          <a:bodyPr/>
          <a:lstStyle/>
          <a:p>
            <a:r>
              <a:rPr lang="en-US" dirty="0"/>
              <a:t>Search Page</a:t>
            </a:r>
          </a:p>
        </p:txBody>
      </p:sp>
      <p:sp>
        <p:nvSpPr>
          <p:cNvPr id="4" name="Date Placeholder 3">
            <a:extLst>
              <a:ext uri="{FF2B5EF4-FFF2-40B4-BE49-F238E27FC236}">
                <a16:creationId xmlns:a16="http://schemas.microsoft.com/office/drawing/2014/main" id="{C6DF0403-8739-AE5F-15AD-2596B2CFC0B1}"/>
              </a:ext>
            </a:extLst>
          </p:cNvPr>
          <p:cNvSpPr>
            <a:spLocks noGrp="1"/>
          </p:cNvSpPr>
          <p:nvPr>
            <p:ph type="dt" sz="half" idx="2"/>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5" name="Content Placeholder 4">
            <a:extLst>
              <a:ext uri="{FF2B5EF4-FFF2-40B4-BE49-F238E27FC236}">
                <a16:creationId xmlns:a16="http://schemas.microsoft.com/office/drawing/2014/main" id="{8F1A3A46-8B58-FB67-F284-D3D6AFEDB095}"/>
              </a:ext>
            </a:extLst>
          </p:cNvPr>
          <p:cNvPicPr>
            <a:picLocks noGrp="1" noChangeAspect="1"/>
          </p:cNvPicPr>
          <p:nvPr>
            <p:ph idx="1"/>
          </p:nvPr>
        </p:nvPicPr>
        <p:blipFill>
          <a:blip r:embed="rId2"/>
          <a:stretch>
            <a:fillRect/>
          </a:stretch>
        </p:blipFill>
        <p:spPr>
          <a:xfrm>
            <a:off x="4593632" y="623355"/>
            <a:ext cx="6953251" cy="5273751"/>
          </a:xfrm>
          <a:prstGeom prst="rect">
            <a:avLst/>
          </a:prstGeom>
        </p:spPr>
      </p:pic>
      <p:sp>
        <p:nvSpPr>
          <p:cNvPr id="6" name="TextBox 5">
            <a:extLst>
              <a:ext uri="{FF2B5EF4-FFF2-40B4-BE49-F238E27FC236}">
                <a16:creationId xmlns:a16="http://schemas.microsoft.com/office/drawing/2014/main" id="{BF1219C1-755E-7D6A-D178-CDD5FACE6CD6}"/>
              </a:ext>
            </a:extLst>
          </p:cNvPr>
          <p:cNvSpPr txBox="1"/>
          <p:nvPr/>
        </p:nvSpPr>
        <p:spPr>
          <a:xfrm>
            <a:off x="489786" y="875655"/>
            <a:ext cx="3990813" cy="4801314"/>
          </a:xfrm>
          <a:prstGeom prst="rect">
            <a:avLst/>
          </a:prstGeom>
          <a:noFill/>
        </p:spPr>
        <p:txBody>
          <a:bodyPr wrap="square" rtlCol="0">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Select the Area</a:t>
            </a:r>
          </a:p>
          <a:p>
            <a:pPr marL="285744" indent="-285744" defTabSz="914377">
              <a:buFont typeface="Arial" panose="020B0604020202020204" pitchFamily="34" charset="0"/>
              <a:buChar char="•"/>
            </a:pPr>
            <a:r>
              <a:rPr lang="en-US" dirty="0">
                <a:solidFill>
                  <a:prstClr val="black"/>
                </a:solidFill>
                <a:latin typeface="Arial" panose="020B0604020202020204"/>
              </a:rPr>
              <a:t>Select District</a:t>
            </a:r>
          </a:p>
          <a:p>
            <a:pPr marL="285744" indent="-285744" defTabSz="914377">
              <a:buFont typeface="Arial" panose="020B0604020202020204" pitchFamily="34" charset="0"/>
              <a:buChar char="•"/>
            </a:pPr>
            <a:r>
              <a:rPr lang="en-US" dirty="0">
                <a:solidFill>
                  <a:prstClr val="black"/>
                </a:solidFill>
                <a:latin typeface="Arial" panose="020B0604020202020204"/>
              </a:rPr>
              <a:t>Select MPOO/Group (If Known)</a:t>
            </a:r>
          </a:p>
          <a:p>
            <a:pPr marL="285744" indent="-285744" defTabSz="914377">
              <a:buFont typeface="Arial" panose="020B0604020202020204" pitchFamily="34" charset="0"/>
              <a:buChar char="•"/>
            </a:pPr>
            <a:r>
              <a:rPr lang="en-US" dirty="0">
                <a:solidFill>
                  <a:prstClr val="black"/>
                </a:solidFill>
                <a:latin typeface="Arial" panose="020B0604020202020204"/>
              </a:rPr>
              <a:t>Lead Unit (If MPOO/Group Selected)</a:t>
            </a:r>
          </a:p>
          <a:p>
            <a:pPr defTabSz="914377"/>
            <a:endParaRPr lang="en-US" dirty="0">
              <a:solidFill>
                <a:prstClr val="black"/>
              </a:solidFill>
              <a:latin typeface="Arial" panose="020B0604020202020204"/>
            </a:endParaRPr>
          </a:p>
          <a:p>
            <a:pPr defTabSz="914377"/>
            <a:r>
              <a:rPr lang="en-US" dirty="0">
                <a:solidFill>
                  <a:prstClr val="black"/>
                </a:solidFill>
                <a:latin typeface="Arial" panose="020B0604020202020204"/>
              </a:rPr>
              <a:t>Select View Range:</a:t>
            </a:r>
          </a:p>
          <a:p>
            <a:pPr defTabSz="914377"/>
            <a:r>
              <a:rPr lang="en-US" dirty="0">
                <a:solidFill>
                  <a:prstClr val="black"/>
                </a:solidFill>
                <a:latin typeface="Arial" panose="020B0604020202020204"/>
              </a:rPr>
              <a:t>Canned Reports or Ad Hoc Reports</a:t>
            </a:r>
          </a:p>
          <a:p>
            <a:pPr defTabSz="914377"/>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Canned Reports allows you to select from the 5 date ranges as shown</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Ad Hoc Reports allows you to pick your specific date range</a:t>
            </a:r>
          </a:p>
          <a:p>
            <a:pPr defTabSz="914377"/>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Submit Query</a:t>
            </a:r>
          </a:p>
        </p:txBody>
      </p:sp>
    </p:spTree>
    <p:extLst>
      <p:ext uri="{BB962C8B-B14F-4D97-AF65-F5344CB8AC3E}">
        <p14:creationId xmlns:p14="http://schemas.microsoft.com/office/powerpoint/2010/main" val="3771304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0D7C3-15A6-640F-BA5A-A6DDF6CE99EB}"/>
              </a:ext>
            </a:extLst>
          </p:cNvPr>
          <p:cNvSpPr>
            <a:spLocks noGrp="1"/>
          </p:cNvSpPr>
          <p:nvPr>
            <p:ph type="title"/>
          </p:nvPr>
        </p:nvSpPr>
        <p:spPr/>
        <p:txBody>
          <a:bodyPr>
            <a:normAutofit/>
          </a:bodyPr>
          <a:lstStyle/>
          <a:p>
            <a:r>
              <a:rPr lang="en-US" sz="2800" dirty="0"/>
              <a:t>Search Page (If Finance # Is Known)</a:t>
            </a:r>
            <a:endParaRPr lang="en-US" sz="2400" dirty="0"/>
          </a:p>
        </p:txBody>
      </p:sp>
      <p:sp>
        <p:nvSpPr>
          <p:cNvPr id="4" name="Date Placeholder 3">
            <a:extLst>
              <a:ext uri="{FF2B5EF4-FFF2-40B4-BE49-F238E27FC236}">
                <a16:creationId xmlns:a16="http://schemas.microsoft.com/office/drawing/2014/main" id="{1D70A21E-5CC5-67B1-E3F0-B1D6713561C5}"/>
              </a:ext>
            </a:extLst>
          </p:cNvPr>
          <p:cNvSpPr>
            <a:spLocks noGrp="1"/>
          </p:cNvSpPr>
          <p:nvPr>
            <p:ph type="dt" sz="half" idx="2"/>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grpSp>
        <p:nvGrpSpPr>
          <p:cNvPr id="5" name="Group 4">
            <a:extLst>
              <a:ext uri="{FF2B5EF4-FFF2-40B4-BE49-F238E27FC236}">
                <a16:creationId xmlns:a16="http://schemas.microsoft.com/office/drawing/2014/main" id="{953E7C92-9D92-84DA-EE07-C859A20CAF7C}"/>
              </a:ext>
            </a:extLst>
          </p:cNvPr>
          <p:cNvGrpSpPr/>
          <p:nvPr/>
        </p:nvGrpSpPr>
        <p:grpSpPr>
          <a:xfrm>
            <a:off x="563067" y="829161"/>
            <a:ext cx="5134149" cy="5098943"/>
            <a:chOff x="561478" y="700847"/>
            <a:chExt cx="5895381" cy="5890260"/>
          </a:xfrm>
        </p:grpSpPr>
        <p:pic>
          <p:nvPicPr>
            <p:cNvPr id="6" name="Picture 5">
              <a:extLst>
                <a:ext uri="{FF2B5EF4-FFF2-40B4-BE49-F238E27FC236}">
                  <a16:creationId xmlns:a16="http://schemas.microsoft.com/office/drawing/2014/main" id="{3E4C9A66-9472-E09C-BC66-E48693A269DB}"/>
                </a:ext>
              </a:extLst>
            </p:cNvPr>
            <p:cNvPicPr>
              <a:picLocks noChangeAspect="1"/>
            </p:cNvPicPr>
            <p:nvPr/>
          </p:nvPicPr>
          <p:blipFill>
            <a:blip r:embed="rId2"/>
            <a:stretch>
              <a:fillRect/>
            </a:stretch>
          </p:blipFill>
          <p:spPr>
            <a:xfrm>
              <a:off x="561478" y="700847"/>
              <a:ext cx="5792827" cy="3196977"/>
            </a:xfrm>
            <a:prstGeom prst="rect">
              <a:avLst/>
            </a:prstGeom>
          </p:spPr>
        </p:pic>
        <p:pic>
          <p:nvPicPr>
            <p:cNvPr id="7" name="Picture 6">
              <a:extLst>
                <a:ext uri="{FF2B5EF4-FFF2-40B4-BE49-F238E27FC236}">
                  <a16:creationId xmlns:a16="http://schemas.microsoft.com/office/drawing/2014/main" id="{BC7CD6AE-D69C-3A50-398E-3B46332EC1F0}"/>
                </a:ext>
              </a:extLst>
            </p:cNvPr>
            <p:cNvPicPr>
              <a:picLocks noChangeAspect="1"/>
            </p:cNvPicPr>
            <p:nvPr/>
          </p:nvPicPr>
          <p:blipFill>
            <a:blip r:embed="rId3"/>
            <a:stretch>
              <a:fillRect/>
            </a:stretch>
          </p:blipFill>
          <p:spPr>
            <a:xfrm>
              <a:off x="2818877" y="3866827"/>
              <a:ext cx="3535428" cy="2724280"/>
            </a:xfrm>
            <a:prstGeom prst="rect">
              <a:avLst/>
            </a:prstGeom>
          </p:spPr>
        </p:pic>
        <p:sp>
          <p:nvSpPr>
            <p:cNvPr id="8" name="Oval 7">
              <a:extLst>
                <a:ext uri="{FF2B5EF4-FFF2-40B4-BE49-F238E27FC236}">
                  <a16:creationId xmlns:a16="http://schemas.microsoft.com/office/drawing/2014/main" id="{5E0D0123-9015-4A87-598A-E9220E366C0A}"/>
                </a:ext>
              </a:extLst>
            </p:cNvPr>
            <p:cNvSpPr/>
            <p:nvPr/>
          </p:nvSpPr>
          <p:spPr>
            <a:xfrm>
              <a:off x="5949044" y="1255363"/>
              <a:ext cx="507815" cy="60443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latin typeface="Arial" panose="020B0604020202020204"/>
              </a:endParaRPr>
            </a:p>
          </p:txBody>
        </p:sp>
        <p:sp>
          <p:nvSpPr>
            <p:cNvPr id="9" name="Oval 8">
              <a:extLst>
                <a:ext uri="{FF2B5EF4-FFF2-40B4-BE49-F238E27FC236}">
                  <a16:creationId xmlns:a16="http://schemas.microsoft.com/office/drawing/2014/main" id="{E80A0C92-8854-BB6F-4690-5FA8019154CC}"/>
                </a:ext>
              </a:extLst>
            </p:cNvPr>
            <p:cNvSpPr/>
            <p:nvPr/>
          </p:nvSpPr>
          <p:spPr>
            <a:xfrm>
              <a:off x="4083803" y="4409268"/>
              <a:ext cx="774916" cy="356461"/>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prstClr val="white"/>
                </a:solidFill>
                <a:latin typeface="Arial" panose="020B0604020202020204"/>
              </a:endParaRPr>
            </a:p>
          </p:txBody>
        </p:sp>
      </p:grpSp>
      <p:sp>
        <p:nvSpPr>
          <p:cNvPr id="10" name="TextBox 9">
            <a:extLst>
              <a:ext uri="{FF2B5EF4-FFF2-40B4-BE49-F238E27FC236}">
                <a16:creationId xmlns:a16="http://schemas.microsoft.com/office/drawing/2014/main" id="{2439B726-4D40-2484-8846-99A25A4C6DA5}"/>
              </a:ext>
            </a:extLst>
          </p:cNvPr>
          <p:cNvSpPr txBox="1"/>
          <p:nvPr/>
        </p:nvSpPr>
        <p:spPr>
          <a:xfrm>
            <a:off x="6766011" y="2413338"/>
            <a:ext cx="4746100" cy="2862322"/>
          </a:xfrm>
          <a:prstGeom prst="rect">
            <a:avLst/>
          </a:prstGeom>
          <a:noFill/>
        </p:spPr>
        <p:txBody>
          <a:bodyPr wrap="square" lIns="91440" tIns="45720" rIns="91440" bIns="45720" rtlCol="0" anchor="t">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If the finance # is known, click on the binocular's icon</a:t>
            </a: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Enter the finance number and search for unit info</a:t>
            </a:r>
            <a:endParaRPr lang="en-US" dirty="0">
              <a:solidFill>
                <a:prstClr val="black"/>
              </a:solidFill>
              <a:latin typeface="Arial" panose="020B0604020202020204"/>
              <a:cs typeface="Arial"/>
            </a:endParaRPr>
          </a:p>
          <a:p>
            <a:pPr marL="285744" indent="-285744" defTabSz="914377">
              <a:buFont typeface="Arial" panose="020B0604020202020204" pitchFamily="34" charset="0"/>
              <a:buChar char="•"/>
            </a:pPr>
            <a:endParaRPr lang="en-US" dirty="0">
              <a:solidFill>
                <a:prstClr val="black"/>
              </a:solidFill>
              <a:latin typeface="Arial" panose="020B0604020202020204"/>
            </a:endParaRPr>
          </a:p>
          <a:p>
            <a:pPr marL="285744" indent="-285744" defTabSz="914377">
              <a:buFont typeface="Arial" panose="020B0604020202020204" pitchFamily="34" charset="0"/>
              <a:buChar char="•"/>
            </a:pPr>
            <a:r>
              <a:rPr lang="en-US" dirty="0">
                <a:solidFill>
                  <a:prstClr val="black"/>
                </a:solidFill>
                <a:latin typeface="Arial" panose="020B0604020202020204"/>
              </a:rPr>
              <a:t>Click on Unit Variance link at the bottom</a:t>
            </a:r>
          </a:p>
          <a:p>
            <a:pPr marL="742932" lvl="1" indent="-285744" defTabSz="914377">
              <a:buFont typeface="Arial" panose="020B0604020202020204" pitchFamily="34" charset="0"/>
              <a:buChar char="•"/>
            </a:pPr>
            <a:r>
              <a:rPr lang="en-US" dirty="0">
                <a:solidFill>
                  <a:prstClr val="black"/>
                </a:solidFill>
                <a:latin typeface="Arial" panose="020B0604020202020204"/>
              </a:rPr>
              <a:t>Indicates the variance model of the finance number - CSV/SOV</a:t>
            </a:r>
          </a:p>
          <a:p>
            <a:pPr marL="285744" indent="-285744" defTabSz="914377">
              <a:buFont typeface="Arial" panose="020B0604020202020204" pitchFamily="34" charset="0"/>
              <a:buChar char="•"/>
            </a:pPr>
            <a:endParaRPr lang="en-US" dirty="0">
              <a:solidFill>
                <a:prstClr val="black"/>
              </a:solidFill>
              <a:latin typeface="Arial" panose="020B0604020202020204"/>
              <a:cs typeface="Arial"/>
            </a:endParaRPr>
          </a:p>
        </p:txBody>
      </p:sp>
      <p:cxnSp>
        <p:nvCxnSpPr>
          <p:cNvPr id="12" name="Straight Arrow Connector 11">
            <a:extLst>
              <a:ext uri="{FF2B5EF4-FFF2-40B4-BE49-F238E27FC236}">
                <a16:creationId xmlns:a16="http://schemas.microsoft.com/office/drawing/2014/main" id="{32A384BA-830C-5A58-A48A-E67FC9BD90FE}"/>
              </a:ext>
            </a:extLst>
          </p:cNvPr>
          <p:cNvCxnSpPr/>
          <p:nvPr/>
        </p:nvCxnSpPr>
        <p:spPr>
          <a:xfrm flipH="1" flipV="1">
            <a:off x="5751459" y="1735811"/>
            <a:ext cx="1014552" cy="852407"/>
          </a:xfrm>
          <a:prstGeom prst="straightConnector1">
            <a:avLst/>
          </a:prstGeom>
          <a:ln w="28575">
            <a:solidFill>
              <a:srgbClr val="FD0B0B"/>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64666FD-D41B-C7AA-9AED-E379E395E69E}"/>
              </a:ext>
            </a:extLst>
          </p:cNvPr>
          <p:cNvCxnSpPr>
            <a:stCxn id="10" idx="1"/>
          </p:cNvCxnSpPr>
          <p:nvPr/>
        </p:nvCxnSpPr>
        <p:spPr>
          <a:xfrm flipH="1">
            <a:off x="4441854" y="3844499"/>
            <a:ext cx="2324157" cy="349165"/>
          </a:xfrm>
          <a:prstGeom prst="straightConnector1">
            <a:avLst/>
          </a:prstGeom>
          <a:ln w="28575">
            <a:solidFill>
              <a:srgbClr val="5DE616"/>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E71E86B-B0F1-B343-01AE-BD27C116E465}"/>
              </a:ext>
            </a:extLst>
          </p:cNvPr>
          <p:cNvCxnSpPr/>
          <p:nvPr/>
        </p:nvCxnSpPr>
        <p:spPr>
          <a:xfrm flipH="1">
            <a:off x="5023039" y="4269785"/>
            <a:ext cx="1686459" cy="138709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02776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AB3C5-C303-D205-FEBF-2AE36D4AD921}"/>
              </a:ext>
            </a:extLst>
          </p:cNvPr>
          <p:cNvSpPr>
            <a:spLocks noGrp="1"/>
          </p:cNvSpPr>
          <p:nvPr>
            <p:ph type="title"/>
          </p:nvPr>
        </p:nvSpPr>
        <p:spPr/>
        <p:txBody>
          <a:bodyPr>
            <a:normAutofit/>
          </a:bodyPr>
          <a:lstStyle/>
          <a:p>
            <a:r>
              <a:rPr lang="en-US" sz="2800" dirty="0"/>
              <a:t>Customer Service Variance Summary</a:t>
            </a:r>
          </a:p>
        </p:txBody>
      </p:sp>
      <p:sp>
        <p:nvSpPr>
          <p:cNvPr id="4" name="Date Placeholder 3">
            <a:extLst>
              <a:ext uri="{FF2B5EF4-FFF2-40B4-BE49-F238E27FC236}">
                <a16:creationId xmlns:a16="http://schemas.microsoft.com/office/drawing/2014/main" id="{D39268A5-6298-06BC-CB70-CAF4F201EDE1}"/>
              </a:ext>
            </a:extLst>
          </p:cNvPr>
          <p:cNvSpPr>
            <a:spLocks noGrp="1"/>
          </p:cNvSpPr>
          <p:nvPr>
            <p:ph type="dt" sz="half" idx="2"/>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pic>
        <p:nvPicPr>
          <p:cNvPr id="5" name="Content Placeholder 4">
            <a:extLst>
              <a:ext uri="{FF2B5EF4-FFF2-40B4-BE49-F238E27FC236}">
                <a16:creationId xmlns:a16="http://schemas.microsoft.com/office/drawing/2014/main" id="{9020A9A7-9702-6987-E5DF-60E7E2BA68AD}"/>
              </a:ext>
            </a:extLst>
          </p:cNvPr>
          <p:cNvPicPr>
            <a:picLocks noGrp="1" noChangeAspect="1"/>
          </p:cNvPicPr>
          <p:nvPr>
            <p:ph idx="1"/>
          </p:nvPr>
        </p:nvPicPr>
        <p:blipFill>
          <a:blip r:embed="rId2"/>
          <a:stretch>
            <a:fillRect/>
          </a:stretch>
        </p:blipFill>
        <p:spPr>
          <a:xfrm>
            <a:off x="5007543" y="850081"/>
            <a:ext cx="7007740" cy="5157841"/>
          </a:xfrm>
          <a:prstGeom prst="rect">
            <a:avLst/>
          </a:prstGeom>
        </p:spPr>
      </p:pic>
      <p:sp>
        <p:nvSpPr>
          <p:cNvPr id="6" name="TextBox 5">
            <a:extLst>
              <a:ext uri="{FF2B5EF4-FFF2-40B4-BE49-F238E27FC236}">
                <a16:creationId xmlns:a16="http://schemas.microsoft.com/office/drawing/2014/main" id="{03698843-473A-E678-44C4-E05F5E5FC624}"/>
              </a:ext>
            </a:extLst>
          </p:cNvPr>
          <p:cNvSpPr txBox="1"/>
          <p:nvPr/>
        </p:nvSpPr>
        <p:spPr>
          <a:xfrm>
            <a:off x="301946" y="1587965"/>
            <a:ext cx="4557513" cy="3414781"/>
          </a:xfrm>
          <a:prstGeom prst="rect">
            <a:avLst/>
          </a:prstGeom>
          <a:noFill/>
        </p:spPr>
        <p:txBody>
          <a:bodyPr wrap="square">
            <a:spAutoFit/>
          </a:bodyPr>
          <a:lstStyle/>
          <a:p>
            <a:pPr marL="285744" indent="-285744" defTabSz="914377">
              <a:buFont typeface="Arial" panose="020B0604020202020204" pitchFamily="34" charset="0"/>
              <a:buChar char="•"/>
            </a:pPr>
            <a:r>
              <a:rPr lang="en-US" sz="1799" dirty="0">
                <a:solidFill>
                  <a:prstClr val="black"/>
                </a:solidFill>
                <a:latin typeface="Arial" panose="020B0604020202020204" pitchFamily="34" charset="0"/>
              </a:rPr>
              <a:t>Provides an overview based on selected scope chosen from the search page</a:t>
            </a:r>
          </a:p>
          <a:p>
            <a:pPr marL="285744" indent="-285744" defTabSz="914377">
              <a:buFont typeface="Arial" panose="020B0604020202020204" pitchFamily="34" charset="0"/>
              <a:buChar char="•"/>
            </a:pPr>
            <a:endParaRPr lang="en-US" sz="1799" dirty="0">
              <a:solidFill>
                <a:prstClr val="black"/>
              </a:solidFill>
              <a:latin typeface="Arial" panose="020B0604020202020204" pitchFamily="34" charset="0"/>
            </a:endParaRPr>
          </a:p>
          <a:p>
            <a:pPr marL="285744" indent="-285744" defTabSz="914377">
              <a:buFont typeface="Arial" panose="020B0604020202020204" pitchFamily="34" charset="0"/>
              <a:buChar char="•"/>
            </a:pPr>
            <a:r>
              <a:rPr lang="en-US" sz="1799" dirty="0">
                <a:solidFill>
                  <a:prstClr val="black"/>
                </a:solidFill>
                <a:latin typeface="Arial" panose="020B0604020202020204" pitchFamily="34" charset="0"/>
              </a:rPr>
              <a:t>Provides an LDC work hour analysis for Function 4 operations</a:t>
            </a:r>
          </a:p>
          <a:p>
            <a:pPr marL="285744" indent="-285744" defTabSz="914377">
              <a:buFont typeface="Arial" panose="020B0604020202020204" pitchFamily="34" charset="0"/>
              <a:buChar char="•"/>
            </a:pPr>
            <a:endParaRPr lang="en-US" sz="1799" dirty="0">
              <a:solidFill>
                <a:prstClr val="black"/>
              </a:solidFill>
              <a:latin typeface="Arial" panose="020B0604020202020204" pitchFamily="34" charset="0"/>
            </a:endParaRPr>
          </a:p>
          <a:p>
            <a:pPr marL="285744" indent="-285744" defTabSz="914377">
              <a:buFont typeface="Arial" panose="020B0604020202020204" pitchFamily="34" charset="0"/>
              <a:buChar char="•"/>
            </a:pPr>
            <a:r>
              <a:rPr lang="en-US" sz="1799" dirty="0">
                <a:solidFill>
                  <a:prstClr val="black"/>
                </a:solidFill>
                <a:latin typeface="Arial" panose="020B0604020202020204" pitchFamily="34" charset="0"/>
              </a:rPr>
              <a:t>Provides a breakdown of each LDC percent achieved and complement analysis for each office with the scope selected</a:t>
            </a:r>
          </a:p>
          <a:p>
            <a:pPr marL="285744" indent="-285744" defTabSz="914377">
              <a:buFont typeface="Arial" panose="020B0604020202020204" pitchFamily="34" charset="0"/>
              <a:buChar char="•"/>
            </a:pPr>
            <a:endParaRPr lang="en-US" sz="1799" dirty="0">
              <a:solidFill>
                <a:prstClr val="black"/>
              </a:solidFill>
              <a:latin typeface="Arial" panose="020B0604020202020204" pitchFamily="34" charset="0"/>
            </a:endParaRPr>
          </a:p>
        </p:txBody>
      </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DCD92F27-A528-4DC8-352A-C02F57950581}"/>
                  </a:ext>
                </a:extLst>
              </p14:cNvPr>
              <p14:cNvContentPartPr/>
              <p14:nvPr/>
            </p14:nvContentPartPr>
            <p14:xfrm>
              <a:off x="10949494" y="1065553"/>
              <a:ext cx="1168200" cy="423360"/>
            </p14:xfrm>
          </p:contentPart>
        </mc:Choice>
        <mc:Fallback xmlns="">
          <p:pic>
            <p:nvPicPr>
              <p:cNvPr id="3" name="Ink 2">
                <a:extLst>
                  <a:ext uri="{FF2B5EF4-FFF2-40B4-BE49-F238E27FC236}">
                    <a16:creationId xmlns:a16="http://schemas.microsoft.com/office/drawing/2014/main" id="{DCD92F27-A528-4DC8-352A-C02F57950581}"/>
                  </a:ext>
                </a:extLst>
              </p:cNvPr>
              <p:cNvPicPr/>
              <p:nvPr/>
            </p:nvPicPr>
            <p:blipFill>
              <a:blip r:embed="rId4"/>
              <a:stretch>
                <a:fillRect/>
              </a:stretch>
            </p:blipFill>
            <p:spPr>
              <a:xfrm>
                <a:off x="10943374" y="1059433"/>
                <a:ext cx="1180440" cy="4356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62DF0D22-838B-8EEE-9FB0-7D1EF7747738}"/>
                  </a:ext>
                </a:extLst>
              </p14:cNvPr>
              <p14:cNvContentPartPr/>
              <p14:nvPr/>
            </p14:nvContentPartPr>
            <p14:xfrm>
              <a:off x="6114334" y="667753"/>
              <a:ext cx="15120" cy="110880"/>
            </p14:xfrm>
          </p:contentPart>
        </mc:Choice>
        <mc:Fallback xmlns="">
          <p:pic>
            <p:nvPicPr>
              <p:cNvPr id="7" name="Ink 6">
                <a:extLst>
                  <a:ext uri="{FF2B5EF4-FFF2-40B4-BE49-F238E27FC236}">
                    <a16:creationId xmlns:a16="http://schemas.microsoft.com/office/drawing/2014/main" id="{62DF0D22-838B-8EEE-9FB0-7D1EF7747738}"/>
                  </a:ext>
                </a:extLst>
              </p:cNvPr>
              <p:cNvPicPr/>
              <p:nvPr/>
            </p:nvPicPr>
            <p:blipFill>
              <a:blip r:embed="rId6"/>
              <a:stretch>
                <a:fillRect/>
              </a:stretch>
            </p:blipFill>
            <p:spPr>
              <a:xfrm>
                <a:off x="6108214" y="661633"/>
                <a:ext cx="27360" cy="1231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6" name="Ink 15">
                <a:extLst>
                  <a:ext uri="{FF2B5EF4-FFF2-40B4-BE49-F238E27FC236}">
                    <a16:creationId xmlns:a16="http://schemas.microsoft.com/office/drawing/2014/main" id="{16D957E2-2577-93CC-F8BE-3ACE7B6BE618}"/>
                  </a:ext>
                </a:extLst>
              </p14:cNvPr>
              <p14:cNvContentPartPr/>
              <p14:nvPr/>
            </p14:nvContentPartPr>
            <p14:xfrm>
              <a:off x="6215854" y="622033"/>
              <a:ext cx="73800" cy="165240"/>
            </p14:xfrm>
          </p:contentPart>
        </mc:Choice>
        <mc:Fallback xmlns="">
          <p:pic>
            <p:nvPicPr>
              <p:cNvPr id="16" name="Ink 15">
                <a:extLst>
                  <a:ext uri="{FF2B5EF4-FFF2-40B4-BE49-F238E27FC236}">
                    <a16:creationId xmlns:a16="http://schemas.microsoft.com/office/drawing/2014/main" id="{16D957E2-2577-93CC-F8BE-3ACE7B6BE618}"/>
                  </a:ext>
                </a:extLst>
              </p:cNvPr>
              <p:cNvPicPr/>
              <p:nvPr/>
            </p:nvPicPr>
            <p:blipFill>
              <a:blip r:embed="rId8"/>
              <a:stretch>
                <a:fillRect/>
              </a:stretch>
            </p:blipFill>
            <p:spPr>
              <a:xfrm>
                <a:off x="6209734" y="615913"/>
                <a:ext cx="86040" cy="1774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7" name="Ink 16">
                <a:extLst>
                  <a:ext uri="{FF2B5EF4-FFF2-40B4-BE49-F238E27FC236}">
                    <a16:creationId xmlns:a16="http://schemas.microsoft.com/office/drawing/2014/main" id="{FC5E18A0-4560-5D80-C015-B1408E14562A}"/>
                  </a:ext>
                </a:extLst>
              </p14:cNvPr>
              <p14:cNvContentPartPr/>
              <p14:nvPr/>
            </p14:nvContentPartPr>
            <p14:xfrm>
              <a:off x="6117574" y="627793"/>
              <a:ext cx="5400" cy="24840"/>
            </p14:xfrm>
          </p:contentPart>
        </mc:Choice>
        <mc:Fallback xmlns="">
          <p:pic>
            <p:nvPicPr>
              <p:cNvPr id="17" name="Ink 16">
                <a:extLst>
                  <a:ext uri="{FF2B5EF4-FFF2-40B4-BE49-F238E27FC236}">
                    <a16:creationId xmlns:a16="http://schemas.microsoft.com/office/drawing/2014/main" id="{FC5E18A0-4560-5D80-C015-B1408E14562A}"/>
                  </a:ext>
                </a:extLst>
              </p:cNvPr>
              <p:cNvPicPr/>
              <p:nvPr/>
            </p:nvPicPr>
            <p:blipFill>
              <a:blip r:embed="rId10"/>
              <a:stretch>
                <a:fillRect/>
              </a:stretch>
            </p:blipFill>
            <p:spPr>
              <a:xfrm>
                <a:off x="6111454" y="621673"/>
                <a:ext cx="17640" cy="370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8" name="Ink 17">
                <a:extLst>
                  <a:ext uri="{FF2B5EF4-FFF2-40B4-BE49-F238E27FC236}">
                    <a16:creationId xmlns:a16="http://schemas.microsoft.com/office/drawing/2014/main" id="{E7F427F4-0C94-3CF1-D54C-FAB00EC6B4B3}"/>
                  </a:ext>
                </a:extLst>
              </p14:cNvPr>
              <p14:cNvContentPartPr/>
              <p14:nvPr/>
            </p14:nvContentPartPr>
            <p14:xfrm>
              <a:off x="6432574" y="699793"/>
              <a:ext cx="360" cy="360"/>
            </p14:xfrm>
          </p:contentPart>
        </mc:Choice>
        <mc:Fallback xmlns="">
          <p:pic>
            <p:nvPicPr>
              <p:cNvPr id="18" name="Ink 17">
                <a:extLst>
                  <a:ext uri="{FF2B5EF4-FFF2-40B4-BE49-F238E27FC236}">
                    <a16:creationId xmlns:a16="http://schemas.microsoft.com/office/drawing/2014/main" id="{E7F427F4-0C94-3CF1-D54C-FAB00EC6B4B3}"/>
                  </a:ext>
                </a:extLst>
              </p:cNvPr>
              <p:cNvPicPr/>
              <p:nvPr/>
            </p:nvPicPr>
            <p:blipFill>
              <a:blip r:embed="rId12"/>
              <a:stretch>
                <a:fillRect/>
              </a:stretch>
            </p:blipFill>
            <p:spPr>
              <a:xfrm>
                <a:off x="6426454" y="693673"/>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9" name="Ink 18">
                <a:extLst>
                  <a:ext uri="{FF2B5EF4-FFF2-40B4-BE49-F238E27FC236}">
                    <a16:creationId xmlns:a16="http://schemas.microsoft.com/office/drawing/2014/main" id="{592F0F6D-A524-A74D-3A5C-D2F0BDB8C861}"/>
                  </a:ext>
                </a:extLst>
              </p14:cNvPr>
              <p14:cNvContentPartPr/>
              <p14:nvPr/>
            </p14:nvContentPartPr>
            <p14:xfrm>
              <a:off x="6353014" y="625993"/>
              <a:ext cx="105120" cy="136440"/>
            </p14:xfrm>
          </p:contentPart>
        </mc:Choice>
        <mc:Fallback xmlns="">
          <p:pic>
            <p:nvPicPr>
              <p:cNvPr id="19" name="Ink 18">
                <a:extLst>
                  <a:ext uri="{FF2B5EF4-FFF2-40B4-BE49-F238E27FC236}">
                    <a16:creationId xmlns:a16="http://schemas.microsoft.com/office/drawing/2014/main" id="{592F0F6D-A524-A74D-3A5C-D2F0BDB8C861}"/>
                  </a:ext>
                </a:extLst>
              </p:cNvPr>
              <p:cNvPicPr/>
              <p:nvPr/>
            </p:nvPicPr>
            <p:blipFill>
              <a:blip r:embed="rId14"/>
              <a:stretch>
                <a:fillRect/>
              </a:stretch>
            </p:blipFill>
            <p:spPr>
              <a:xfrm>
                <a:off x="6346894" y="619873"/>
                <a:ext cx="117360" cy="14868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0" name="Ink 19">
                <a:extLst>
                  <a:ext uri="{FF2B5EF4-FFF2-40B4-BE49-F238E27FC236}">
                    <a16:creationId xmlns:a16="http://schemas.microsoft.com/office/drawing/2014/main" id="{8C68FB97-AD39-1267-E363-C93F4BBAF991}"/>
                  </a:ext>
                </a:extLst>
              </p14:cNvPr>
              <p14:cNvContentPartPr/>
              <p14:nvPr/>
            </p14:nvContentPartPr>
            <p14:xfrm>
              <a:off x="6559654" y="642553"/>
              <a:ext cx="110880" cy="129960"/>
            </p14:xfrm>
          </p:contentPart>
        </mc:Choice>
        <mc:Fallback xmlns="">
          <p:pic>
            <p:nvPicPr>
              <p:cNvPr id="20" name="Ink 19">
                <a:extLst>
                  <a:ext uri="{FF2B5EF4-FFF2-40B4-BE49-F238E27FC236}">
                    <a16:creationId xmlns:a16="http://schemas.microsoft.com/office/drawing/2014/main" id="{8C68FB97-AD39-1267-E363-C93F4BBAF991}"/>
                  </a:ext>
                </a:extLst>
              </p:cNvPr>
              <p:cNvPicPr/>
              <p:nvPr/>
            </p:nvPicPr>
            <p:blipFill>
              <a:blip r:embed="rId16"/>
              <a:stretch>
                <a:fillRect/>
              </a:stretch>
            </p:blipFill>
            <p:spPr>
              <a:xfrm>
                <a:off x="6553534" y="636433"/>
                <a:ext cx="123120" cy="1422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7" name="Ink 26">
                <a:extLst>
                  <a:ext uri="{FF2B5EF4-FFF2-40B4-BE49-F238E27FC236}">
                    <a16:creationId xmlns:a16="http://schemas.microsoft.com/office/drawing/2014/main" id="{2714D8C2-5371-4094-6A1D-39D9D390E8E2}"/>
                  </a:ext>
                </a:extLst>
              </p14:cNvPr>
              <p14:cNvContentPartPr/>
              <p14:nvPr/>
            </p14:nvContentPartPr>
            <p14:xfrm>
              <a:off x="7003894" y="754873"/>
              <a:ext cx="33480" cy="15120"/>
            </p14:xfrm>
          </p:contentPart>
        </mc:Choice>
        <mc:Fallback xmlns="">
          <p:pic>
            <p:nvPicPr>
              <p:cNvPr id="27" name="Ink 26">
                <a:extLst>
                  <a:ext uri="{FF2B5EF4-FFF2-40B4-BE49-F238E27FC236}">
                    <a16:creationId xmlns:a16="http://schemas.microsoft.com/office/drawing/2014/main" id="{2714D8C2-5371-4094-6A1D-39D9D390E8E2}"/>
                  </a:ext>
                </a:extLst>
              </p:cNvPr>
              <p:cNvPicPr/>
              <p:nvPr/>
            </p:nvPicPr>
            <p:blipFill>
              <a:blip r:embed="rId18"/>
              <a:stretch>
                <a:fillRect/>
              </a:stretch>
            </p:blipFill>
            <p:spPr>
              <a:xfrm>
                <a:off x="6997774" y="748753"/>
                <a:ext cx="45720" cy="2736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30" name="Ink 29">
                <a:extLst>
                  <a:ext uri="{FF2B5EF4-FFF2-40B4-BE49-F238E27FC236}">
                    <a16:creationId xmlns:a16="http://schemas.microsoft.com/office/drawing/2014/main" id="{20D6C975-570F-98E9-EA7A-5D0ADBE1FF1A}"/>
                  </a:ext>
                </a:extLst>
              </p14:cNvPr>
              <p14:cNvContentPartPr/>
              <p14:nvPr/>
            </p14:nvContentPartPr>
            <p14:xfrm>
              <a:off x="7489894" y="747313"/>
              <a:ext cx="16920" cy="37800"/>
            </p14:xfrm>
          </p:contentPart>
        </mc:Choice>
        <mc:Fallback xmlns="">
          <p:pic>
            <p:nvPicPr>
              <p:cNvPr id="30" name="Ink 29">
                <a:extLst>
                  <a:ext uri="{FF2B5EF4-FFF2-40B4-BE49-F238E27FC236}">
                    <a16:creationId xmlns:a16="http://schemas.microsoft.com/office/drawing/2014/main" id="{20D6C975-570F-98E9-EA7A-5D0ADBE1FF1A}"/>
                  </a:ext>
                </a:extLst>
              </p:cNvPr>
              <p:cNvPicPr/>
              <p:nvPr/>
            </p:nvPicPr>
            <p:blipFill>
              <a:blip r:embed="rId20"/>
              <a:stretch>
                <a:fillRect/>
              </a:stretch>
            </p:blipFill>
            <p:spPr>
              <a:xfrm>
                <a:off x="7483774" y="741193"/>
                <a:ext cx="29160" cy="5004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31" name="Ink 30">
                <a:extLst>
                  <a:ext uri="{FF2B5EF4-FFF2-40B4-BE49-F238E27FC236}">
                    <a16:creationId xmlns:a16="http://schemas.microsoft.com/office/drawing/2014/main" id="{E559FB73-25A3-5739-1163-32B10DE936CB}"/>
                  </a:ext>
                </a:extLst>
              </p14:cNvPr>
              <p14:cNvContentPartPr/>
              <p14:nvPr/>
            </p14:nvContentPartPr>
            <p14:xfrm>
              <a:off x="6368854" y="787273"/>
              <a:ext cx="3600" cy="21600"/>
            </p14:xfrm>
          </p:contentPart>
        </mc:Choice>
        <mc:Fallback xmlns="">
          <p:pic>
            <p:nvPicPr>
              <p:cNvPr id="31" name="Ink 30">
                <a:extLst>
                  <a:ext uri="{FF2B5EF4-FFF2-40B4-BE49-F238E27FC236}">
                    <a16:creationId xmlns:a16="http://schemas.microsoft.com/office/drawing/2014/main" id="{E559FB73-25A3-5739-1163-32B10DE936CB}"/>
                  </a:ext>
                </a:extLst>
              </p:cNvPr>
              <p:cNvPicPr/>
              <p:nvPr/>
            </p:nvPicPr>
            <p:blipFill>
              <a:blip r:embed="rId22"/>
              <a:stretch>
                <a:fillRect/>
              </a:stretch>
            </p:blipFill>
            <p:spPr>
              <a:xfrm>
                <a:off x="6362734" y="781153"/>
                <a:ext cx="15840" cy="3384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37" name="Ink 36">
                <a:extLst>
                  <a:ext uri="{FF2B5EF4-FFF2-40B4-BE49-F238E27FC236}">
                    <a16:creationId xmlns:a16="http://schemas.microsoft.com/office/drawing/2014/main" id="{2A6DEB5F-B598-622F-CAB9-6B6FC912E076}"/>
                  </a:ext>
                </a:extLst>
              </p14:cNvPr>
              <p14:cNvContentPartPr/>
              <p14:nvPr/>
            </p14:nvContentPartPr>
            <p14:xfrm>
              <a:off x="8361814" y="603673"/>
              <a:ext cx="122400" cy="153720"/>
            </p14:xfrm>
          </p:contentPart>
        </mc:Choice>
        <mc:Fallback xmlns="">
          <p:pic>
            <p:nvPicPr>
              <p:cNvPr id="37" name="Ink 36">
                <a:extLst>
                  <a:ext uri="{FF2B5EF4-FFF2-40B4-BE49-F238E27FC236}">
                    <a16:creationId xmlns:a16="http://schemas.microsoft.com/office/drawing/2014/main" id="{2A6DEB5F-B598-622F-CAB9-6B6FC912E076}"/>
                  </a:ext>
                </a:extLst>
              </p:cNvPr>
              <p:cNvPicPr/>
              <p:nvPr/>
            </p:nvPicPr>
            <p:blipFill>
              <a:blip r:embed="rId24"/>
              <a:stretch>
                <a:fillRect/>
              </a:stretch>
            </p:blipFill>
            <p:spPr>
              <a:xfrm>
                <a:off x="8355694" y="597553"/>
                <a:ext cx="13464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38" name="Ink 37">
                <a:extLst>
                  <a:ext uri="{FF2B5EF4-FFF2-40B4-BE49-F238E27FC236}">
                    <a16:creationId xmlns:a16="http://schemas.microsoft.com/office/drawing/2014/main" id="{504FC59F-6165-194B-95A1-EC505A22D6D3}"/>
                  </a:ext>
                </a:extLst>
              </p14:cNvPr>
              <p14:cNvContentPartPr/>
              <p14:nvPr/>
            </p14:nvContentPartPr>
            <p14:xfrm>
              <a:off x="8578534" y="618433"/>
              <a:ext cx="121680" cy="155160"/>
            </p14:xfrm>
          </p:contentPart>
        </mc:Choice>
        <mc:Fallback xmlns="">
          <p:pic>
            <p:nvPicPr>
              <p:cNvPr id="38" name="Ink 37">
                <a:extLst>
                  <a:ext uri="{FF2B5EF4-FFF2-40B4-BE49-F238E27FC236}">
                    <a16:creationId xmlns:a16="http://schemas.microsoft.com/office/drawing/2014/main" id="{504FC59F-6165-194B-95A1-EC505A22D6D3}"/>
                  </a:ext>
                </a:extLst>
              </p:cNvPr>
              <p:cNvPicPr/>
              <p:nvPr/>
            </p:nvPicPr>
            <p:blipFill>
              <a:blip r:embed="rId26"/>
              <a:stretch>
                <a:fillRect/>
              </a:stretch>
            </p:blipFill>
            <p:spPr>
              <a:xfrm>
                <a:off x="8572414" y="612313"/>
                <a:ext cx="133920" cy="16740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39" name="Ink 38">
                <a:extLst>
                  <a:ext uri="{FF2B5EF4-FFF2-40B4-BE49-F238E27FC236}">
                    <a16:creationId xmlns:a16="http://schemas.microsoft.com/office/drawing/2014/main" id="{931F7B6B-FC97-94BE-86FA-EABD579297AA}"/>
                  </a:ext>
                </a:extLst>
              </p14:cNvPr>
              <p14:cNvContentPartPr/>
              <p14:nvPr/>
            </p14:nvContentPartPr>
            <p14:xfrm>
              <a:off x="8761414" y="719593"/>
              <a:ext cx="32760" cy="42120"/>
            </p14:xfrm>
          </p:contentPart>
        </mc:Choice>
        <mc:Fallback xmlns="">
          <p:pic>
            <p:nvPicPr>
              <p:cNvPr id="39" name="Ink 38">
                <a:extLst>
                  <a:ext uri="{FF2B5EF4-FFF2-40B4-BE49-F238E27FC236}">
                    <a16:creationId xmlns:a16="http://schemas.microsoft.com/office/drawing/2014/main" id="{931F7B6B-FC97-94BE-86FA-EABD579297AA}"/>
                  </a:ext>
                </a:extLst>
              </p:cNvPr>
              <p:cNvPicPr/>
              <p:nvPr/>
            </p:nvPicPr>
            <p:blipFill>
              <a:blip r:embed="rId28"/>
              <a:stretch>
                <a:fillRect/>
              </a:stretch>
            </p:blipFill>
            <p:spPr>
              <a:xfrm>
                <a:off x="8755294" y="713473"/>
                <a:ext cx="45000" cy="5436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40" name="Ink 39">
                <a:extLst>
                  <a:ext uri="{FF2B5EF4-FFF2-40B4-BE49-F238E27FC236}">
                    <a16:creationId xmlns:a16="http://schemas.microsoft.com/office/drawing/2014/main" id="{4D248BD0-97BB-A405-A404-1CFCB4F80B1B}"/>
                  </a:ext>
                </a:extLst>
              </p14:cNvPr>
              <p14:cNvContentPartPr/>
              <p14:nvPr/>
            </p14:nvContentPartPr>
            <p14:xfrm>
              <a:off x="8864734" y="596113"/>
              <a:ext cx="127080" cy="167760"/>
            </p14:xfrm>
          </p:contentPart>
        </mc:Choice>
        <mc:Fallback xmlns="">
          <p:pic>
            <p:nvPicPr>
              <p:cNvPr id="40" name="Ink 39">
                <a:extLst>
                  <a:ext uri="{FF2B5EF4-FFF2-40B4-BE49-F238E27FC236}">
                    <a16:creationId xmlns:a16="http://schemas.microsoft.com/office/drawing/2014/main" id="{4D248BD0-97BB-A405-A404-1CFCB4F80B1B}"/>
                  </a:ext>
                </a:extLst>
              </p:cNvPr>
              <p:cNvPicPr/>
              <p:nvPr/>
            </p:nvPicPr>
            <p:blipFill>
              <a:blip r:embed="rId30"/>
              <a:stretch>
                <a:fillRect/>
              </a:stretch>
            </p:blipFill>
            <p:spPr>
              <a:xfrm>
                <a:off x="8858614" y="589993"/>
                <a:ext cx="139320" cy="18000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41" name="Ink 40">
                <a:extLst>
                  <a:ext uri="{FF2B5EF4-FFF2-40B4-BE49-F238E27FC236}">
                    <a16:creationId xmlns:a16="http://schemas.microsoft.com/office/drawing/2014/main" id="{9B09AB81-3AE1-8CBA-9D1A-600FF8871E17}"/>
                  </a:ext>
                </a:extLst>
              </p14:cNvPr>
              <p14:cNvContentPartPr/>
              <p14:nvPr/>
            </p14:nvContentPartPr>
            <p14:xfrm>
              <a:off x="9056254" y="621673"/>
              <a:ext cx="113040" cy="126360"/>
            </p14:xfrm>
          </p:contentPart>
        </mc:Choice>
        <mc:Fallback xmlns="">
          <p:pic>
            <p:nvPicPr>
              <p:cNvPr id="41" name="Ink 40">
                <a:extLst>
                  <a:ext uri="{FF2B5EF4-FFF2-40B4-BE49-F238E27FC236}">
                    <a16:creationId xmlns:a16="http://schemas.microsoft.com/office/drawing/2014/main" id="{9B09AB81-3AE1-8CBA-9D1A-600FF8871E17}"/>
                  </a:ext>
                </a:extLst>
              </p:cNvPr>
              <p:cNvPicPr/>
              <p:nvPr/>
            </p:nvPicPr>
            <p:blipFill>
              <a:blip r:embed="rId32"/>
              <a:stretch>
                <a:fillRect/>
              </a:stretch>
            </p:blipFill>
            <p:spPr>
              <a:xfrm>
                <a:off x="9050134" y="615553"/>
                <a:ext cx="125280" cy="13860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53" name="Ink 52">
                <a:extLst>
                  <a:ext uri="{FF2B5EF4-FFF2-40B4-BE49-F238E27FC236}">
                    <a16:creationId xmlns:a16="http://schemas.microsoft.com/office/drawing/2014/main" id="{3A4402A1-41A1-A5EE-C5A3-F64F0EFCE341}"/>
                  </a:ext>
                </a:extLst>
              </p14:cNvPr>
              <p14:cNvContentPartPr/>
              <p14:nvPr/>
            </p14:nvContentPartPr>
            <p14:xfrm>
              <a:off x="10955254" y="364633"/>
              <a:ext cx="134280" cy="194400"/>
            </p14:xfrm>
          </p:contentPart>
        </mc:Choice>
        <mc:Fallback xmlns="">
          <p:pic>
            <p:nvPicPr>
              <p:cNvPr id="53" name="Ink 52">
                <a:extLst>
                  <a:ext uri="{FF2B5EF4-FFF2-40B4-BE49-F238E27FC236}">
                    <a16:creationId xmlns:a16="http://schemas.microsoft.com/office/drawing/2014/main" id="{3A4402A1-41A1-A5EE-C5A3-F64F0EFCE341}"/>
                  </a:ext>
                </a:extLst>
              </p:cNvPr>
              <p:cNvPicPr/>
              <p:nvPr/>
            </p:nvPicPr>
            <p:blipFill>
              <a:blip r:embed="rId34"/>
              <a:stretch>
                <a:fillRect/>
              </a:stretch>
            </p:blipFill>
            <p:spPr>
              <a:xfrm>
                <a:off x="10949134" y="358513"/>
                <a:ext cx="146520" cy="20664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54" name="Ink 53">
                <a:extLst>
                  <a:ext uri="{FF2B5EF4-FFF2-40B4-BE49-F238E27FC236}">
                    <a16:creationId xmlns:a16="http://schemas.microsoft.com/office/drawing/2014/main" id="{50FC993B-8E6A-4399-6596-518DA3E2C209}"/>
                  </a:ext>
                </a:extLst>
              </p14:cNvPr>
              <p14:cNvContentPartPr/>
              <p14:nvPr/>
            </p14:nvContentPartPr>
            <p14:xfrm>
              <a:off x="11171974" y="381553"/>
              <a:ext cx="172440" cy="192960"/>
            </p14:xfrm>
          </p:contentPart>
        </mc:Choice>
        <mc:Fallback xmlns="">
          <p:pic>
            <p:nvPicPr>
              <p:cNvPr id="54" name="Ink 53">
                <a:extLst>
                  <a:ext uri="{FF2B5EF4-FFF2-40B4-BE49-F238E27FC236}">
                    <a16:creationId xmlns:a16="http://schemas.microsoft.com/office/drawing/2014/main" id="{50FC993B-8E6A-4399-6596-518DA3E2C209}"/>
                  </a:ext>
                </a:extLst>
              </p:cNvPr>
              <p:cNvPicPr/>
              <p:nvPr/>
            </p:nvPicPr>
            <p:blipFill>
              <a:blip r:embed="rId36"/>
              <a:stretch>
                <a:fillRect/>
              </a:stretch>
            </p:blipFill>
            <p:spPr>
              <a:xfrm>
                <a:off x="11165854" y="375433"/>
                <a:ext cx="184680" cy="20520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77" name="Ink 76">
                <a:extLst>
                  <a:ext uri="{FF2B5EF4-FFF2-40B4-BE49-F238E27FC236}">
                    <a16:creationId xmlns:a16="http://schemas.microsoft.com/office/drawing/2014/main" id="{B75A5C02-6038-702E-89C7-173AF11D9D81}"/>
                  </a:ext>
                </a:extLst>
              </p14:cNvPr>
              <p14:cNvContentPartPr/>
              <p14:nvPr/>
            </p14:nvContentPartPr>
            <p14:xfrm>
              <a:off x="6972934" y="1748113"/>
              <a:ext cx="749520" cy="271800"/>
            </p14:xfrm>
          </p:contentPart>
        </mc:Choice>
        <mc:Fallback xmlns="">
          <p:pic>
            <p:nvPicPr>
              <p:cNvPr id="77" name="Ink 76">
                <a:extLst>
                  <a:ext uri="{FF2B5EF4-FFF2-40B4-BE49-F238E27FC236}">
                    <a16:creationId xmlns:a16="http://schemas.microsoft.com/office/drawing/2014/main" id="{B75A5C02-6038-702E-89C7-173AF11D9D81}"/>
                  </a:ext>
                </a:extLst>
              </p:cNvPr>
              <p:cNvPicPr/>
              <p:nvPr/>
            </p:nvPicPr>
            <p:blipFill>
              <a:blip r:embed="rId38"/>
              <a:stretch>
                <a:fillRect/>
              </a:stretch>
            </p:blipFill>
            <p:spPr>
              <a:xfrm>
                <a:off x="6966814" y="1741993"/>
                <a:ext cx="761760" cy="28404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78" name="Ink 77">
                <a:extLst>
                  <a:ext uri="{FF2B5EF4-FFF2-40B4-BE49-F238E27FC236}">
                    <a16:creationId xmlns:a16="http://schemas.microsoft.com/office/drawing/2014/main" id="{EF91A189-E22F-AB7F-750A-2B4FAFA68834}"/>
                  </a:ext>
                </a:extLst>
              </p14:cNvPr>
              <p14:cNvContentPartPr/>
              <p14:nvPr/>
            </p14:nvContentPartPr>
            <p14:xfrm>
              <a:off x="9913774" y="1764673"/>
              <a:ext cx="947880" cy="311760"/>
            </p14:xfrm>
          </p:contentPart>
        </mc:Choice>
        <mc:Fallback xmlns="">
          <p:pic>
            <p:nvPicPr>
              <p:cNvPr id="78" name="Ink 77">
                <a:extLst>
                  <a:ext uri="{FF2B5EF4-FFF2-40B4-BE49-F238E27FC236}">
                    <a16:creationId xmlns:a16="http://schemas.microsoft.com/office/drawing/2014/main" id="{EF91A189-E22F-AB7F-750A-2B4FAFA68834}"/>
                  </a:ext>
                </a:extLst>
              </p:cNvPr>
              <p:cNvPicPr/>
              <p:nvPr/>
            </p:nvPicPr>
            <p:blipFill>
              <a:blip r:embed="rId40"/>
              <a:stretch>
                <a:fillRect/>
              </a:stretch>
            </p:blipFill>
            <p:spPr>
              <a:xfrm>
                <a:off x="9907654" y="1758553"/>
                <a:ext cx="960120" cy="32400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127" name="Ink 126">
                <a:extLst>
                  <a:ext uri="{FF2B5EF4-FFF2-40B4-BE49-F238E27FC236}">
                    <a16:creationId xmlns:a16="http://schemas.microsoft.com/office/drawing/2014/main" id="{20BE147E-289A-5E00-A600-A7EF29FA192A}"/>
                  </a:ext>
                </a:extLst>
              </p14:cNvPr>
              <p14:cNvContentPartPr/>
              <p14:nvPr/>
            </p14:nvContentPartPr>
            <p14:xfrm>
              <a:off x="7657950" y="191370"/>
              <a:ext cx="10080" cy="237240"/>
            </p14:xfrm>
          </p:contentPart>
        </mc:Choice>
        <mc:Fallback xmlns="">
          <p:pic>
            <p:nvPicPr>
              <p:cNvPr id="127" name="Ink 126">
                <a:extLst>
                  <a:ext uri="{FF2B5EF4-FFF2-40B4-BE49-F238E27FC236}">
                    <a16:creationId xmlns:a16="http://schemas.microsoft.com/office/drawing/2014/main" id="{20BE147E-289A-5E00-A600-A7EF29FA192A}"/>
                  </a:ext>
                </a:extLst>
              </p:cNvPr>
              <p:cNvPicPr/>
              <p:nvPr/>
            </p:nvPicPr>
            <p:blipFill>
              <a:blip r:embed="rId42"/>
              <a:stretch>
                <a:fillRect/>
              </a:stretch>
            </p:blipFill>
            <p:spPr>
              <a:xfrm>
                <a:off x="7651830" y="185250"/>
                <a:ext cx="22320" cy="24948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21" name="Ink 20">
                <a:extLst>
                  <a:ext uri="{FF2B5EF4-FFF2-40B4-BE49-F238E27FC236}">
                    <a16:creationId xmlns:a16="http://schemas.microsoft.com/office/drawing/2014/main" id="{6810D913-715E-1CA6-35DC-A332007F83A6}"/>
                  </a:ext>
                </a:extLst>
              </p14:cNvPr>
              <p14:cNvContentPartPr/>
              <p14:nvPr/>
            </p14:nvContentPartPr>
            <p14:xfrm>
              <a:off x="6726334" y="626713"/>
              <a:ext cx="120600" cy="146880"/>
            </p14:xfrm>
          </p:contentPart>
        </mc:Choice>
        <mc:Fallback xmlns="">
          <p:pic>
            <p:nvPicPr>
              <p:cNvPr id="21" name="Ink 20">
                <a:extLst>
                  <a:ext uri="{FF2B5EF4-FFF2-40B4-BE49-F238E27FC236}">
                    <a16:creationId xmlns:a16="http://schemas.microsoft.com/office/drawing/2014/main" id="{6810D913-715E-1CA6-35DC-A332007F83A6}"/>
                  </a:ext>
                </a:extLst>
              </p:cNvPr>
              <p:cNvPicPr/>
              <p:nvPr/>
            </p:nvPicPr>
            <p:blipFill>
              <a:blip r:embed="rId44"/>
              <a:stretch>
                <a:fillRect/>
              </a:stretch>
            </p:blipFill>
            <p:spPr>
              <a:xfrm>
                <a:off x="6720214" y="620593"/>
                <a:ext cx="132840" cy="15912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22" name="Ink 21">
                <a:extLst>
                  <a:ext uri="{FF2B5EF4-FFF2-40B4-BE49-F238E27FC236}">
                    <a16:creationId xmlns:a16="http://schemas.microsoft.com/office/drawing/2014/main" id="{35C551CA-EA09-3802-172B-3658560AD729}"/>
                  </a:ext>
                </a:extLst>
              </p14:cNvPr>
              <p14:cNvContentPartPr/>
              <p14:nvPr/>
            </p14:nvContentPartPr>
            <p14:xfrm>
              <a:off x="6941254" y="701233"/>
              <a:ext cx="167040" cy="6840"/>
            </p14:xfrm>
          </p:contentPart>
        </mc:Choice>
        <mc:Fallback xmlns="">
          <p:pic>
            <p:nvPicPr>
              <p:cNvPr id="22" name="Ink 21">
                <a:extLst>
                  <a:ext uri="{FF2B5EF4-FFF2-40B4-BE49-F238E27FC236}">
                    <a16:creationId xmlns:a16="http://schemas.microsoft.com/office/drawing/2014/main" id="{35C551CA-EA09-3802-172B-3658560AD729}"/>
                  </a:ext>
                </a:extLst>
              </p:cNvPr>
              <p:cNvPicPr/>
              <p:nvPr/>
            </p:nvPicPr>
            <p:blipFill>
              <a:blip r:embed="rId46"/>
              <a:stretch>
                <a:fillRect/>
              </a:stretch>
            </p:blipFill>
            <p:spPr>
              <a:xfrm>
                <a:off x="6935134" y="695113"/>
                <a:ext cx="179280" cy="1908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23" name="Ink 22">
                <a:extLst>
                  <a:ext uri="{FF2B5EF4-FFF2-40B4-BE49-F238E27FC236}">
                    <a16:creationId xmlns:a16="http://schemas.microsoft.com/office/drawing/2014/main" id="{9B721322-0EA6-F91F-07F6-93332940B5F7}"/>
                  </a:ext>
                </a:extLst>
              </p14:cNvPr>
              <p14:cNvContentPartPr/>
              <p14:nvPr/>
            </p14:nvContentPartPr>
            <p14:xfrm>
              <a:off x="7020814" y="651913"/>
              <a:ext cx="360" cy="360"/>
            </p14:xfrm>
          </p:contentPart>
        </mc:Choice>
        <mc:Fallback xmlns="">
          <p:pic>
            <p:nvPicPr>
              <p:cNvPr id="23" name="Ink 22">
                <a:extLst>
                  <a:ext uri="{FF2B5EF4-FFF2-40B4-BE49-F238E27FC236}">
                    <a16:creationId xmlns:a16="http://schemas.microsoft.com/office/drawing/2014/main" id="{9B721322-0EA6-F91F-07F6-93332940B5F7}"/>
                  </a:ext>
                </a:extLst>
              </p:cNvPr>
              <p:cNvPicPr/>
              <p:nvPr/>
            </p:nvPicPr>
            <p:blipFill>
              <a:blip r:embed="rId12"/>
              <a:stretch>
                <a:fillRect/>
              </a:stretch>
            </p:blipFill>
            <p:spPr>
              <a:xfrm>
                <a:off x="7014694" y="645793"/>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24" name="Ink 23">
                <a:extLst>
                  <a:ext uri="{FF2B5EF4-FFF2-40B4-BE49-F238E27FC236}">
                    <a16:creationId xmlns:a16="http://schemas.microsoft.com/office/drawing/2014/main" id="{00214B06-FE30-3F32-60CC-F2445FD5765B}"/>
                  </a:ext>
                </a:extLst>
              </p14:cNvPr>
              <p14:cNvContentPartPr/>
              <p14:nvPr/>
            </p14:nvContentPartPr>
            <p14:xfrm>
              <a:off x="7020814" y="651913"/>
              <a:ext cx="360" cy="360"/>
            </p14:xfrm>
          </p:contentPart>
        </mc:Choice>
        <mc:Fallback xmlns="">
          <p:pic>
            <p:nvPicPr>
              <p:cNvPr id="24" name="Ink 23">
                <a:extLst>
                  <a:ext uri="{FF2B5EF4-FFF2-40B4-BE49-F238E27FC236}">
                    <a16:creationId xmlns:a16="http://schemas.microsoft.com/office/drawing/2014/main" id="{00214B06-FE30-3F32-60CC-F2445FD5765B}"/>
                  </a:ext>
                </a:extLst>
              </p:cNvPr>
              <p:cNvPicPr/>
              <p:nvPr/>
            </p:nvPicPr>
            <p:blipFill>
              <a:blip r:embed="rId12"/>
              <a:stretch>
                <a:fillRect/>
              </a:stretch>
            </p:blipFill>
            <p:spPr>
              <a:xfrm>
                <a:off x="7014694" y="645793"/>
                <a:ext cx="126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25" name="Ink 24">
                <a:extLst>
                  <a:ext uri="{FF2B5EF4-FFF2-40B4-BE49-F238E27FC236}">
                    <a16:creationId xmlns:a16="http://schemas.microsoft.com/office/drawing/2014/main" id="{9881203C-71DC-059D-F81A-02A8D40DAFD0}"/>
                  </a:ext>
                </a:extLst>
              </p14:cNvPr>
              <p14:cNvContentPartPr/>
              <p14:nvPr/>
            </p14:nvContentPartPr>
            <p14:xfrm>
              <a:off x="7012894" y="636073"/>
              <a:ext cx="11520" cy="20520"/>
            </p14:xfrm>
          </p:contentPart>
        </mc:Choice>
        <mc:Fallback xmlns="">
          <p:pic>
            <p:nvPicPr>
              <p:cNvPr id="25" name="Ink 24">
                <a:extLst>
                  <a:ext uri="{FF2B5EF4-FFF2-40B4-BE49-F238E27FC236}">
                    <a16:creationId xmlns:a16="http://schemas.microsoft.com/office/drawing/2014/main" id="{9881203C-71DC-059D-F81A-02A8D40DAFD0}"/>
                  </a:ext>
                </a:extLst>
              </p:cNvPr>
              <p:cNvPicPr/>
              <p:nvPr/>
            </p:nvPicPr>
            <p:blipFill>
              <a:blip r:embed="rId50"/>
              <a:stretch>
                <a:fillRect/>
              </a:stretch>
            </p:blipFill>
            <p:spPr>
              <a:xfrm>
                <a:off x="7006774" y="629953"/>
                <a:ext cx="23760" cy="3276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28" name="Ink 27">
                <a:extLst>
                  <a:ext uri="{FF2B5EF4-FFF2-40B4-BE49-F238E27FC236}">
                    <a16:creationId xmlns:a16="http://schemas.microsoft.com/office/drawing/2014/main" id="{A76AEC1E-6260-4385-D750-5E9064E77B46}"/>
                  </a:ext>
                </a:extLst>
              </p14:cNvPr>
              <p14:cNvContentPartPr/>
              <p14:nvPr/>
            </p14:nvContentPartPr>
            <p14:xfrm>
              <a:off x="7233574" y="627073"/>
              <a:ext cx="81000" cy="136800"/>
            </p14:xfrm>
          </p:contentPart>
        </mc:Choice>
        <mc:Fallback xmlns="">
          <p:pic>
            <p:nvPicPr>
              <p:cNvPr id="28" name="Ink 27">
                <a:extLst>
                  <a:ext uri="{FF2B5EF4-FFF2-40B4-BE49-F238E27FC236}">
                    <a16:creationId xmlns:a16="http://schemas.microsoft.com/office/drawing/2014/main" id="{A76AEC1E-6260-4385-D750-5E9064E77B46}"/>
                  </a:ext>
                </a:extLst>
              </p:cNvPr>
              <p:cNvPicPr/>
              <p:nvPr/>
            </p:nvPicPr>
            <p:blipFill>
              <a:blip r:embed="rId52"/>
              <a:stretch>
                <a:fillRect/>
              </a:stretch>
            </p:blipFill>
            <p:spPr>
              <a:xfrm>
                <a:off x="7227454" y="620953"/>
                <a:ext cx="93240" cy="14904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29" name="Ink 28">
                <a:extLst>
                  <a:ext uri="{FF2B5EF4-FFF2-40B4-BE49-F238E27FC236}">
                    <a16:creationId xmlns:a16="http://schemas.microsoft.com/office/drawing/2014/main" id="{6AC98FD1-ACDB-2B86-60A5-2DD0DE1E8518}"/>
                  </a:ext>
                </a:extLst>
              </p14:cNvPr>
              <p14:cNvContentPartPr/>
              <p14:nvPr/>
            </p14:nvContentPartPr>
            <p14:xfrm>
              <a:off x="7426174" y="612313"/>
              <a:ext cx="23400" cy="142560"/>
            </p14:xfrm>
          </p:contentPart>
        </mc:Choice>
        <mc:Fallback xmlns="">
          <p:pic>
            <p:nvPicPr>
              <p:cNvPr id="29" name="Ink 28">
                <a:extLst>
                  <a:ext uri="{FF2B5EF4-FFF2-40B4-BE49-F238E27FC236}">
                    <a16:creationId xmlns:a16="http://schemas.microsoft.com/office/drawing/2014/main" id="{6AC98FD1-ACDB-2B86-60A5-2DD0DE1E8518}"/>
                  </a:ext>
                </a:extLst>
              </p:cNvPr>
              <p:cNvPicPr/>
              <p:nvPr/>
            </p:nvPicPr>
            <p:blipFill>
              <a:blip r:embed="rId54"/>
              <a:stretch>
                <a:fillRect/>
              </a:stretch>
            </p:blipFill>
            <p:spPr>
              <a:xfrm>
                <a:off x="7420054" y="606193"/>
                <a:ext cx="35640" cy="154800"/>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32" name="Ink 31">
                <a:extLst>
                  <a:ext uri="{FF2B5EF4-FFF2-40B4-BE49-F238E27FC236}">
                    <a16:creationId xmlns:a16="http://schemas.microsoft.com/office/drawing/2014/main" id="{3729E96F-043B-06FF-312B-8E96C9881BDF}"/>
                  </a:ext>
                </a:extLst>
              </p14:cNvPr>
              <p14:cNvContentPartPr/>
              <p14:nvPr/>
            </p14:nvContentPartPr>
            <p14:xfrm>
              <a:off x="7529134" y="627073"/>
              <a:ext cx="106920" cy="137880"/>
            </p14:xfrm>
          </p:contentPart>
        </mc:Choice>
        <mc:Fallback xmlns="">
          <p:pic>
            <p:nvPicPr>
              <p:cNvPr id="32" name="Ink 31">
                <a:extLst>
                  <a:ext uri="{FF2B5EF4-FFF2-40B4-BE49-F238E27FC236}">
                    <a16:creationId xmlns:a16="http://schemas.microsoft.com/office/drawing/2014/main" id="{3729E96F-043B-06FF-312B-8E96C9881BDF}"/>
                  </a:ext>
                </a:extLst>
              </p:cNvPr>
              <p:cNvPicPr/>
              <p:nvPr/>
            </p:nvPicPr>
            <p:blipFill>
              <a:blip r:embed="rId56"/>
              <a:stretch>
                <a:fillRect/>
              </a:stretch>
            </p:blipFill>
            <p:spPr>
              <a:xfrm>
                <a:off x="7523014" y="620953"/>
                <a:ext cx="119160" cy="15012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33" name="Ink 32">
                <a:extLst>
                  <a:ext uri="{FF2B5EF4-FFF2-40B4-BE49-F238E27FC236}">
                    <a16:creationId xmlns:a16="http://schemas.microsoft.com/office/drawing/2014/main" id="{B113B5A9-6134-5DA1-8DBA-55943E00BF55}"/>
                  </a:ext>
                </a:extLst>
              </p14:cNvPr>
              <p14:cNvContentPartPr/>
              <p14:nvPr/>
            </p14:nvContentPartPr>
            <p14:xfrm>
              <a:off x="7712734" y="627793"/>
              <a:ext cx="27720" cy="147240"/>
            </p14:xfrm>
          </p:contentPart>
        </mc:Choice>
        <mc:Fallback xmlns="">
          <p:pic>
            <p:nvPicPr>
              <p:cNvPr id="33" name="Ink 32">
                <a:extLst>
                  <a:ext uri="{FF2B5EF4-FFF2-40B4-BE49-F238E27FC236}">
                    <a16:creationId xmlns:a16="http://schemas.microsoft.com/office/drawing/2014/main" id="{B113B5A9-6134-5DA1-8DBA-55943E00BF55}"/>
                  </a:ext>
                </a:extLst>
              </p:cNvPr>
              <p:cNvPicPr/>
              <p:nvPr/>
            </p:nvPicPr>
            <p:blipFill>
              <a:blip r:embed="rId58"/>
              <a:stretch>
                <a:fillRect/>
              </a:stretch>
            </p:blipFill>
            <p:spPr>
              <a:xfrm>
                <a:off x="7706614" y="621673"/>
                <a:ext cx="39960" cy="15948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34" name="Ink 33">
                <a:extLst>
                  <a:ext uri="{FF2B5EF4-FFF2-40B4-BE49-F238E27FC236}">
                    <a16:creationId xmlns:a16="http://schemas.microsoft.com/office/drawing/2014/main" id="{09D8C925-A6CE-01ED-9F36-07D613CDE538}"/>
                  </a:ext>
                </a:extLst>
              </p14:cNvPr>
              <p14:cNvContentPartPr/>
              <p14:nvPr/>
            </p14:nvContentPartPr>
            <p14:xfrm>
              <a:off x="7797694" y="628513"/>
              <a:ext cx="113400" cy="142200"/>
            </p14:xfrm>
          </p:contentPart>
        </mc:Choice>
        <mc:Fallback xmlns="">
          <p:pic>
            <p:nvPicPr>
              <p:cNvPr id="34" name="Ink 33">
                <a:extLst>
                  <a:ext uri="{FF2B5EF4-FFF2-40B4-BE49-F238E27FC236}">
                    <a16:creationId xmlns:a16="http://schemas.microsoft.com/office/drawing/2014/main" id="{09D8C925-A6CE-01ED-9F36-07D613CDE538}"/>
                  </a:ext>
                </a:extLst>
              </p:cNvPr>
              <p:cNvPicPr/>
              <p:nvPr/>
            </p:nvPicPr>
            <p:blipFill>
              <a:blip r:embed="rId60"/>
              <a:stretch>
                <a:fillRect/>
              </a:stretch>
            </p:blipFill>
            <p:spPr>
              <a:xfrm>
                <a:off x="7791574" y="622393"/>
                <a:ext cx="125640" cy="15444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35" name="Ink 34">
                <a:extLst>
                  <a:ext uri="{FF2B5EF4-FFF2-40B4-BE49-F238E27FC236}">
                    <a16:creationId xmlns:a16="http://schemas.microsoft.com/office/drawing/2014/main" id="{3DC10FEB-BF83-4FBE-98CA-A44B8F2D1D6A}"/>
                  </a:ext>
                </a:extLst>
              </p14:cNvPr>
              <p14:cNvContentPartPr/>
              <p14:nvPr/>
            </p14:nvContentPartPr>
            <p14:xfrm>
              <a:off x="8102254" y="712033"/>
              <a:ext cx="91800" cy="3600"/>
            </p14:xfrm>
          </p:contentPart>
        </mc:Choice>
        <mc:Fallback xmlns="">
          <p:pic>
            <p:nvPicPr>
              <p:cNvPr id="35" name="Ink 34">
                <a:extLst>
                  <a:ext uri="{FF2B5EF4-FFF2-40B4-BE49-F238E27FC236}">
                    <a16:creationId xmlns:a16="http://schemas.microsoft.com/office/drawing/2014/main" id="{3DC10FEB-BF83-4FBE-98CA-A44B8F2D1D6A}"/>
                  </a:ext>
                </a:extLst>
              </p:cNvPr>
              <p:cNvPicPr/>
              <p:nvPr/>
            </p:nvPicPr>
            <p:blipFill>
              <a:blip r:embed="rId62"/>
              <a:stretch>
                <a:fillRect/>
              </a:stretch>
            </p:blipFill>
            <p:spPr>
              <a:xfrm>
                <a:off x="8096134" y="705913"/>
                <a:ext cx="104040" cy="1584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36" name="Ink 35">
                <a:extLst>
                  <a:ext uri="{FF2B5EF4-FFF2-40B4-BE49-F238E27FC236}">
                    <a16:creationId xmlns:a16="http://schemas.microsoft.com/office/drawing/2014/main" id="{4E1433AC-4A1D-322A-6C22-586D5338EF79}"/>
                  </a:ext>
                </a:extLst>
              </p14:cNvPr>
              <p14:cNvContentPartPr/>
              <p14:nvPr/>
            </p14:nvContentPartPr>
            <p14:xfrm>
              <a:off x="8070214" y="651913"/>
              <a:ext cx="103320" cy="360"/>
            </p14:xfrm>
          </p:contentPart>
        </mc:Choice>
        <mc:Fallback xmlns="">
          <p:pic>
            <p:nvPicPr>
              <p:cNvPr id="36" name="Ink 35">
                <a:extLst>
                  <a:ext uri="{FF2B5EF4-FFF2-40B4-BE49-F238E27FC236}">
                    <a16:creationId xmlns:a16="http://schemas.microsoft.com/office/drawing/2014/main" id="{4E1433AC-4A1D-322A-6C22-586D5338EF79}"/>
                  </a:ext>
                </a:extLst>
              </p:cNvPr>
              <p:cNvPicPr/>
              <p:nvPr/>
            </p:nvPicPr>
            <p:blipFill>
              <a:blip r:embed="rId64"/>
              <a:stretch>
                <a:fillRect/>
              </a:stretch>
            </p:blipFill>
            <p:spPr>
              <a:xfrm>
                <a:off x="8064094" y="645793"/>
                <a:ext cx="1155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128" name="Ink 127">
                <a:extLst>
                  <a:ext uri="{FF2B5EF4-FFF2-40B4-BE49-F238E27FC236}">
                    <a16:creationId xmlns:a16="http://schemas.microsoft.com/office/drawing/2014/main" id="{1F39F966-46EA-F365-D057-0EE7F3CE0EB3}"/>
                  </a:ext>
                </a:extLst>
              </p14:cNvPr>
              <p14:cNvContentPartPr/>
              <p14:nvPr/>
            </p14:nvContentPartPr>
            <p14:xfrm>
              <a:off x="7657950" y="142770"/>
              <a:ext cx="4979160" cy="656280"/>
            </p14:xfrm>
          </p:contentPart>
        </mc:Choice>
        <mc:Fallback xmlns="">
          <p:pic>
            <p:nvPicPr>
              <p:cNvPr id="128" name="Ink 127">
                <a:extLst>
                  <a:ext uri="{FF2B5EF4-FFF2-40B4-BE49-F238E27FC236}">
                    <a16:creationId xmlns:a16="http://schemas.microsoft.com/office/drawing/2014/main" id="{1F39F966-46EA-F365-D057-0EE7F3CE0EB3}"/>
                  </a:ext>
                </a:extLst>
              </p:cNvPr>
              <p:cNvPicPr/>
              <p:nvPr/>
            </p:nvPicPr>
            <p:blipFill>
              <a:blip r:embed="rId66"/>
              <a:stretch>
                <a:fillRect/>
              </a:stretch>
            </p:blipFill>
            <p:spPr>
              <a:xfrm>
                <a:off x="7651830" y="136650"/>
                <a:ext cx="4991400" cy="668520"/>
              </a:xfrm>
              <a:prstGeom prst="rect">
                <a:avLst/>
              </a:prstGeom>
            </p:spPr>
          </p:pic>
        </mc:Fallback>
      </mc:AlternateContent>
      <p:grpSp>
        <p:nvGrpSpPr>
          <p:cNvPr id="132" name="Group 131">
            <a:extLst>
              <a:ext uri="{FF2B5EF4-FFF2-40B4-BE49-F238E27FC236}">
                <a16:creationId xmlns:a16="http://schemas.microsoft.com/office/drawing/2014/main" id="{37D1390E-9753-2BF9-9643-F4105B0D5DD6}"/>
              </a:ext>
            </a:extLst>
          </p:cNvPr>
          <p:cNvGrpSpPr/>
          <p:nvPr/>
        </p:nvGrpSpPr>
        <p:grpSpPr>
          <a:xfrm>
            <a:off x="11684910" y="761610"/>
            <a:ext cx="1012680" cy="861480"/>
            <a:chOff x="11684910" y="761610"/>
            <a:chExt cx="1012680" cy="861480"/>
          </a:xfrm>
        </p:grpSpPr>
        <mc:AlternateContent xmlns:mc="http://schemas.openxmlformats.org/markup-compatibility/2006" xmlns:p14="http://schemas.microsoft.com/office/powerpoint/2010/main" xmlns:aink="http://schemas.microsoft.com/office/drawing/2016/ink">
          <mc:Choice Requires="p14 aink">
            <p:contentPart p14:bwMode="auto" r:id="rId67">
              <p14:nvContentPartPr>
                <p14:cNvPr id="130" name="Ink 129">
                  <a:extLst>
                    <a:ext uri="{FF2B5EF4-FFF2-40B4-BE49-F238E27FC236}">
                      <a16:creationId xmlns:a16="http://schemas.microsoft.com/office/drawing/2014/main" id="{077174D5-BE01-5FD4-FB54-99E3E4A8A087}"/>
                    </a:ext>
                  </a:extLst>
                </p14:cNvPr>
                <p14:cNvContentPartPr/>
                <p14:nvPr/>
              </p14:nvContentPartPr>
              <p14:xfrm>
                <a:off x="11684910" y="761610"/>
                <a:ext cx="1012680" cy="808200"/>
              </p14:xfrm>
            </p:contentPart>
          </mc:Choice>
          <mc:Fallback xmlns="">
            <p:pic>
              <p:nvPicPr>
                <p:cNvPr id="130" name="Ink 129">
                  <a:extLst>
                    <a:ext uri="{FF2B5EF4-FFF2-40B4-BE49-F238E27FC236}">
                      <a16:creationId xmlns:a16="http://schemas.microsoft.com/office/drawing/2014/main" id="{077174D5-BE01-5FD4-FB54-99E3E4A8A087}"/>
                    </a:ext>
                  </a:extLst>
                </p:cNvPr>
                <p:cNvPicPr/>
                <p:nvPr/>
              </p:nvPicPr>
              <p:blipFill>
                <a:blip r:embed="rId68"/>
                <a:stretch>
                  <a:fillRect/>
                </a:stretch>
              </p:blipFill>
              <p:spPr>
                <a:xfrm>
                  <a:off x="11676270" y="752970"/>
                  <a:ext cx="1030320" cy="82584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69">
              <p14:nvContentPartPr>
                <p14:cNvPr id="131" name="Ink 130">
                  <a:extLst>
                    <a:ext uri="{FF2B5EF4-FFF2-40B4-BE49-F238E27FC236}">
                      <a16:creationId xmlns:a16="http://schemas.microsoft.com/office/drawing/2014/main" id="{A605707B-B2CB-6580-3BF2-4121B0659911}"/>
                    </a:ext>
                  </a:extLst>
                </p14:cNvPr>
                <p14:cNvContentPartPr/>
                <p14:nvPr/>
              </p14:nvContentPartPr>
              <p14:xfrm>
                <a:off x="11696430" y="1542810"/>
                <a:ext cx="100440" cy="80280"/>
              </p14:xfrm>
            </p:contentPart>
          </mc:Choice>
          <mc:Fallback xmlns="">
            <p:pic>
              <p:nvPicPr>
                <p:cNvPr id="131" name="Ink 130">
                  <a:extLst>
                    <a:ext uri="{FF2B5EF4-FFF2-40B4-BE49-F238E27FC236}">
                      <a16:creationId xmlns:a16="http://schemas.microsoft.com/office/drawing/2014/main" id="{A605707B-B2CB-6580-3BF2-4121B0659911}"/>
                    </a:ext>
                  </a:extLst>
                </p:cNvPr>
                <p:cNvPicPr/>
                <p:nvPr/>
              </p:nvPicPr>
              <p:blipFill>
                <a:blip r:embed="rId70"/>
                <a:stretch>
                  <a:fillRect/>
                </a:stretch>
              </p:blipFill>
              <p:spPr>
                <a:xfrm>
                  <a:off x="11687430" y="1534170"/>
                  <a:ext cx="118080" cy="97920"/>
                </a:xfrm>
                <a:prstGeom prst="rect">
                  <a:avLst/>
                </a:prstGeom>
              </p:spPr>
            </p:pic>
          </mc:Fallback>
        </mc:AlternateContent>
      </p:grpSp>
      <p:grpSp>
        <p:nvGrpSpPr>
          <p:cNvPr id="136" name="Group 135">
            <a:extLst>
              <a:ext uri="{FF2B5EF4-FFF2-40B4-BE49-F238E27FC236}">
                <a16:creationId xmlns:a16="http://schemas.microsoft.com/office/drawing/2014/main" id="{81F65B7C-C294-48F4-CF25-A9CE196AC62E}"/>
              </a:ext>
            </a:extLst>
          </p:cNvPr>
          <p:cNvGrpSpPr/>
          <p:nvPr/>
        </p:nvGrpSpPr>
        <p:grpSpPr>
          <a:xfrm>
            <a:off x="6705390" y="66090"/>
            <a:ext cx="6250320" cy="1710360"/>
            <a:chOff x="6705390" y="66090"/>
            <a:chExt cx="6250320" cy="1710360"/>
          </a:xfrm>
        </p:grpSpPr>
        <mc:AlternateContent xmlns:mc="http://schemas.openxmlformats.org/markup-compatibility/2006" xmlns:p14="http://schemas.microsoft.com/office/powerpoint/2010/main">
          <mc:Choice Requires="p14">
            <p:contentPart p14:bwMode="auto" r:id="rId71">
              <p14:nvContentPartPr>
                <p14:cNvPr id="134" name="Ink 133">
                  <a:extLst>
                    <a:ext uri="{FF2B5EF4-FFF2-40B4-BE49-F238E27FC236}">
                      <a16:creationId xmlns:a16="http://schemas.microsoft.com/office/drawing/2014/main" id="{869BD676-4825-22E8-2CDE-00094437C35A}"/>
                    </a:ext>
                  </a:extLst>
                </p14:cNvPr>
                <p14:cNvContentPartPr/>
                <p14:nvPr/>
              </p14:nvContentPartPr>
              <p14:xfrm>
                <a:off x="6705390" y="66090"/>
                <a:ext cx="6250320" cy="1612080"/>
              </p14:xfrm>
            </p:contentPart>
          </mc:Choice>
          <mc:Fallback xmlns="">
            <p:pic>
              <p:nvPicPr>
                <p:cNvPr id="134" name="Ink 133">
                  <a:extLst>
                    <a:ext uri="{FF2B5EF4-FFF2-40B4-BE49-F238E27FC236}">
                      <a16:creationId xmlns:a16="http://schemas.microsoft.com/office/drawing/2014/main" id="{869BD676-4825-22E8-2CDE-00094437C35A}"/>
                    </a:ext>
                  </a:extLst>
                </p:cNvPr>
                <p:cNvPicPr/>
                <p:nvPr/>
              </p:nvPicPr>
              <p:blipFill>
                <a:blip r:embed="rId72"/>
                <a:stretch>
                  <a:fillRect/>
                </a:stretch>
              </p:blipFill>
              <p:spPr>
                <a:xfrm>
                  <a:off x="6699270" y="59970"/>
                  <a:ext cx="6262560" cy="162432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135" name="Ink 134">
                  <a:extLst>
                    <a:ext uri="{FF2B5EF4-FFF2-40B4-BE49-F238E27FC236}">
                      <a16:creationId xmlns:a16="http://schemas.microsoft.com/office/drawing/2014/main" id="{195CAA92-C9AC-AFB3-7EBF-C2BC03670BCF}"/>
                    </a:ext>
                  </a:extLst>
                </p14:cNvPr>
                <p14:cNvContentPartPr/>
                <p14:nvPr/>
              </p14:nvContentPartPr>
              <p14:xfrm>
                <a:off x="11915670" y="1695090"/>
                <a:ext cx="151200" cy="81360"/>
              </p14:xfrm>
            </p:contentPart>
          </mc:Choice>
          <mc:Fallback xmlns="">
            <p:pic>
              <p:nvPicPr>
                <p:cNvPr id="135" name="Ink 134">
                  <a:extLst>
                    <a:ext uri="{FF2B5EF4-FFF2-40B4-BE49-F238E27FC236}">
                      <a16:creationId xmlns:a16="http://schemas.microsoft.com/office/drawing/2014/main" id="{195CAA92-C9AC-AFB3-7EBF-C2BC03670BCF}"/>
                    </a:ext>
                  </a:extLst>
                </p:cNvPr>
                <p:cNvPicPr/>
                <p:nvPr/>
              </p:nvPicPr>
              <p:blipFill>
                <a:blip r:embed="rId74"/>
                <a:stretch>
                  <a:fillRect/>
                </a:stretch>
              </p:blipFill>
              <p:spPr>
                <a:xfrm>
                  <a:off x="11909550" y="1688970"/>
                  <a:ext cx="163440" cy="93600"/>
                </a:xfrm>
                <a:prstGeom prst="rect">
                  <a:avLst/>
                </a:prstGeom>
              </p:spPr>
            </p:pic>
          </mc:Fallback>
        </mc:AlternateContent>
      </p:grpSp>
      <p:grpSp>
        <p:nvGrpSpPr>
          <p:cNvPr id="154" name="Group 153">
            <a:extLst>
              <a:ext uri="{FF2B5EF4-FFF2-40B4-BE49-F238E27FC236}">
                <a16:creationId xmlns:a16="http://schemas.microsoft.com/office/drawing/2014/main" id="{49548EE9-DBD6-BE9E-F901-34729C148BF0}"/>
              </a:ext>
            </a:extLst>
          </p:cNvPr>
          <p:cNvGrpSpPr/>
          <p:nvPr/>
        </p:nvGrpSpPr>
        <p:grpSpPr>
          <a:xfrm>
            <a:off x="11363070" y="304410"/>
            <a:ext cx="445320" cy="291240"/>
            <a:chOff x="11363070" y="304410"/>
            <a:chExt cx="445320" cy="291240"/>
          </a:xfrm>
        </p:grpSpPr>
        <mc:AlternateContent xmlns:mc="http://schemas.openxmlformats.org/markup-compatibility/2006" xmlns:p14="http://schemas.microsoft.com/office/powerpoint/2010/main">
          <mc:Choice Requires="p14">
            <p:contentPart p14:bwMode="auto" r:id="rId75">
              <p14:nvContentPartPr>
                <p14:cNvPr id="148" name="Ink 147">
                  <a:extLst>
                    <a:ext uri="{FF2B5EF4-FFF2-40B4-BE49-F238E27FC236}">
                      <a16:creationId xmlns:a16="http://schemas.microsoft.com/office/drawing/2014/main" id="{D04DD436-5BAB-99D1-F591-50AEC0B32B27}"/>
                    </a:ext>
                  </a:extLst>
                </p14:cNvPr>
                <p14:cNvContentPartPr/>
                <p14:nvPr/>
              </p14:nvContentPartPr>
              <p14:xfrm>
                <a:off x="11363070" y="361650"/>
                <a:ext cx="78840" cy="50040"/>
              </p14:xfrm>
            </p:contentPart>
          </mc:Choice>
          <mc:Fallback xmlns="">
            <p:pic>
              <p:nvPicPr>
                <p:cNvPr id="148" name="Ink 147">
                  <a:extLst>
                    <a:ext uri="{FF2B5EF4-FFF2-40B4-BE49-F238E27FC236}">
                      <a16:creationId xmlns:a16="http://schemas.microsoft.com/office/drawing/2014/main" id="{D04DD436-5BAB-99D1-F591-50AEC0B32B27}"/>
                    </a:ext>
                  </a:extLst>
                </p:cNvPr>
                <p:cNvPicPr/>
                <p:nvPr/>
              </p:nvPicPr>
              <p:blipFill>
                <a:blip r:embed="rId76"/>
                <a:stretch>
                  <a:fillRect/>
                </a:stretch>
              </p:blipFill>
              <p:spPr>
                <a:xfrm>
                  <a:off x="11356950" y="355530"/>
                  <a:ext cx="91080" cy="62280"/>
                </a:xfrm>
                <a:prstGeom prst="rect">
                  <a:avLst/>
                </a:prstGeom>
              </p:spPr>
            </p:pic>
          </mc:Fallback>
        </mc:AlternateContent>
        <mc:AlternateContent xmlns:mc="http://schemas.openxmlformats.org/markup-compatibility/2006" xmlns:p14="http://schemas.microsoft.com/office/powerpoint/2010/main">
          <mc:Choice Requires="p14">
            <p:contentPart p14:bwMode="auto" r:id="rId77">
              <p14:nvContentPartPr>
                <p14:cNvPr id="149" name="Ink 148">
                  <a:extLst>
                    <a:ext uri="{FF2B5EF4-FFF2-40B4-BE49-F238E27FC236}">
                      <a16:creationId xmlns:a16="http://schemas.microsoft.com/office/drawing/2014/main" id="{68B0FD78-A7E8-90C9-DC61-49DE985BA973}"/>
                    </a:ext>
                  </a:extLst>
                </p14:cNvPr>
                <p14:cNvContentPartPr/>
                <p14:nvPr/>
              </p14:nvContentPartPr>
              <p14:xfrm>
                <a:off x="11415990" y="304410"/>
                <a:ext cx="109440" cy="281160"/>
              </p14:xfrm>
            </p:contentPart>
          </mc:Choice>
          <mc:Fallback xmlns="">
            <p:pic>
              <p:nvPicPr>
                <p:cNvPr id="149" name="Ink 148">
                  <a:extLst>
                    <a:ext uri="{FF2B5EF4-FFF2-40B4-BE49-F238E27FC236}">
                      <a16:creationId xmlns:a16="http://schemas.microsoft.com/office/drawing/2014/main" id="{68B0FD78-A7E8-90C9-DC61-49DE985BA973}"/>
                    </a:ext>
                  </a:extLst>
                </p:cNvPr>
                <p:cNvPicPr/>
                <p:nvPr/>
              </p:nvPicPr>
              <p:blipFill>
                <a:blip r:embed="rId78"/>
                <a:stretch>
                  <a:fillRect/>
                </a:stretch>
              </p:blipFill>
              <p:spPr>
                <a:xfrm>
                  <a:off x="11409870" y="298290"/>
                  <a:ext cx="121680" cy="2934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150" name="Ink 149">
                  <a:extLst>
                    <a:ext uri="{FF2B5EF4-FFF2-40B4-BE49-F238E27FC236}">
                      <a16:creationId xmlns:a16="http://schemas.microsoft.com/office/drawing/2014/main" id="{A3EE2529-47E4-E0A3-87F5-465D47FB3EC8}"/>
                    </a:ext>
                  </a:extLst>
                </p14:cNvPr>
                <p14:cNvContentPartPr/>
                <p14:nvPr/>
              </p14:nvContentPartPr>
              <p14:xfrm>
                <a:off x="11485470" y="514290"/>
                <a:ext cx="51480" cy="81360"/>
              </p14:xfrm>
            </p:contentPart>
          </mc:Choice>
          <mc:Fallback xmlns="">
            <p:pic>
              <p:nvPicPr>
                <p:cNvPr id="150" name="Ink 149">
                  <a:extLst>
                    <a:ext uri="{FF2B5EF4-FFF2-40B4-BE49-F238E27FC236}">
                      <a16:creationId xmlns:a16="http://schemas.microsoft.com/office/drawing/2014/main" id="{A3EE2529-47E4-E0A3-87F5-465D47FB3EC8}"/>
                    </a:ext>
                  </a:extLst>
                </p:cNvPr>
                <p:cNvPicPr/>
                <p:nvPr/>
              </p:nvPicPr>
              <p:blipFill>
                <a:blip r:embed="rId80"/>
                <a:stretch>
                  <a:fillRect/>
                </a:stretch>
              </p:blipFill>
              <p:spPr>
                <a:xfrm>
                  <a:off x="11479350" y="508170"/>
                  <a:ext cx="63720" cy="9360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152" name="Ink 151">
                  <a:extLst>
                    <a:ext uri="{FF2B5EF4-FFF2-40B4-BE49-F238E27FC236}">
                      <a16:creationId xmlns:a16="http://schemas.microsoft.com/office/drawing/2014/main" id="{96F53A76-2830-4443-DC35-A11B7810D375}"/>
                    </a:ext>
                  </a:extLst>
                </p14:cNvPr>
                <p14:cNvContentPartPr/>
                <p14:nvPr/>
              </p14:nvContentPartPr>
              <p14:xfrm>
                <a:off x="11719110" y="390450"/>
                <a:ext cx="25560" cy="162720"/>
              </p14:xfrm>
            </p:contentPart>
          </mc:Choice>
          <mc:Fallback xmlns="">
            <p:pic>
              <p:nvPicPr>
                <p:cNvPr id="152" name="Ink 151">
                  <a:extLst>
                    <a:ext uri="{FF2B5EF4-FFF2-40B4-BE49-F238E27FC236}">
                      <a16:creationId xmlns:a16="http://schemas.microsoft.com/office/drawing/2014/main" id="{96F53A76-2830-4443-DC35-A11B7810D375}"/>
                    </a:ext>
                  </a:extLst>
                </p:cNvPr>
                <p:cNvPicPr/>
                <p:nvPr/>
              </p:nvPicPr>
              <p:blipFill>
                <a:blip r:embed="rId82"/>
                <a:stretch>
                  <a:fillRect/>
                </a:stretch>
              </p:blipFill>
              <p:spPr>
                <a:xfrm>
                  <a:off x="11712990" y="384330"/>
                  <a:ext cx="37800" cy="17496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153" name="Ink 152">
                  <a:extLst>
                    <a:ext uri="{FF2B5EF4-FFF2-40B4-BE49-F238E27FC236}">
                      <a16:creationId xmlns:a16="http://schemas.microsoft.com/office/drawing/2014/main" id="{9AD37B5E-AC2A-7478-0C46-49D6818A2996}"/>
                    </a:ext>
                  </a:extLst>
                </p14:cNvPr>
                <p14:cNvContentPartPr/>
                <p14:nvPr/>
              </p14:nvContentPartPr>
              <p14:xfrm>
                <a:off x="11667990" y="476490"/>
                <a:ext cx="140400" cy="22320"/>
              </p14:xfrm>
            </p:contentPart>
          </mc:Choice>
          <mc:Fallback xmlns="">
            <p:pic>
              <p:nvPicPr>
                <p:cNvPr id="153" name="Ink 152">
                  <a:extLst>
                    <a:ext uri="{FF2B5EF4-FFF2-40B4-BE49-F238E27FC236}">
                      <a16:creationId xmlns:a16="http://schemas.microsoft.com/office/drawing/2014/main" id="{9AD37B5E-AC2A-7478-0C46-49D6818A2996}"/>
                    </a:ext>
                  </a:extLst>
                </p:cNvPr>
                <p:cNvPicPr/>
                <p:nvPr/>
              </p:nvPicPr>
              <p:blipFill>
                <a:blip r:embed="rId84"/>
                <a:stretch>
                  <a:fillRect/>
                </a:stretch>
              </p:blipFill>
              <p:spPr>
                <a:xfrm>
                  <a:off x="11661870" y="470370"/>
                  <a:ext cx="152640" cy="345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85">
            <p14:nvContentPartPr>
              <p14:cNvPr id="158" name="Ink 157">
                <a:extLst>
                  <a:ext uri="{FF2B5EF4-FFF2-40B4-BE49-F238E27FC236}">
                    <a16:creationId xmlns:a16="http://schemas.microsoft.com/office/drawing/2014/main" id="{2462E984-086F-FF8D-F9EA-FB24C2BA683C}"/>
                  </a:ext>
                </a:extLst>
              </p14:cNvPr>
              <p14:cNvContentPartPr/>
              <p14:nvPr/>
            </p14:nvContentPartPr>
            <p14:xfrm>
              <a:off x="8000310" y="1096050"/>
              <a:ext cx="850680" cy="361800"/>
            </p14:xfrm>
          </p:contentPart>
        </mc:Choice>
        <mc:Fallback xmlns="">
          <p:pic>
            <p:nvPicPr>
              <p:cNvPr id="158" name="Ink 157">
                <a:extLst>
                  <a:ext uri="{FF2B5EF4-FFF2-40B4-BE49-F238E27FC236}">
                    <a16:creationId xmlns:a16="http://schemas.microsoft.com/office/drawing/2014/main" id="{2462E984-086F-FF8D-F9EA-FB24C2BA683C}"/>
                  </a:ext>
                </a:extLst>
              </p:cNvPr>
              <p:cNvPicPr/>
              <p:nvPr/>
            </p:nvPicPr>
            <p:blipFill>
              <a:blip r:embed="rId86"/>
              <a:stretch>
                <a:fillRect/>
              </a:stretch>
            </p:blipFill>
            <p:spPr>
              <a:xfrm>
                <a:off x="7994190" y="1089930"/>
                <a:ext cx="862920" cy="374040"/>
              </a:xfrm>
              <a:prstGeom prst="rect">
                <a:avLst/>
              </a:prstGeom>
            </p:spPr>
          </p:pic>
        </mc:Fallback>
      </mc:AlternateContent>
      <mc:AlternateContent xmlns:mc="http://schemas.openxmlformats.org/markup-compatibility/2006" xmlns:p14="http://schemas.microsoft.com/office/powerpoint/2010/main">
        <mc:Choice Requires="p14">
          <p:contentPart p14:bwMode="auto" r:id="rId87">
            <p14:nvContentPartPr>
              <p14:cNvPr id="160" name="Ink 159">
                <a:extLst>
                  <a:ext uri="{FF2B5EF4-FFF2-40B4-BE49-F238E27FC236}">
                    <a16:creationId xmlns:a16="http://schemas.microsoft.com/office/drawing/2014/main" id="{0B92DDC1-7459-B25F-57D5-E8A4E68A5F1F}"/>
                  </a:ext>
                </a:extLst>
              </p14:cNvPr>
              <p14:cNvContentPartPr/>
              <p14:nvPr/>
            </p14:nvContentPartPr>
            <p14:xfrm>
              <a:off x="9018030" y="1087050"/>
              <a:ext cx="804600" cy="380160"/>
            </p14:xfrm>
          </p:contentPart>
        </mc:Choice>
        <mc:Fallback xmlns="">
          <p:pic>
            <p:nvPicPr>
              <p:cNvPr id="160" name="Ink 159">
                <a:extLst>
                  <a:ext uri="{FF2B5EF4-FFF2-40B4-BE49-F238E27FC236}">
                    <a16:creationId xmlns:a16="http://schemas.microsoft.com/office/drawing/2014/main" id="{0B92DDC1-7459-B25F-57D5-E8A4E68A5F1F}"/>
                  </a:ext>
                </a:extLst>
              </p:cNvPr>
              <p:cNvPicPr/>
              <p:nvPr/>
            </p:nvPicPr>
            <p:blipFill>
              <a:blip r:embed="rId88"/>
              <a:stretch>
                <a:fillRect/>
              </a:stretch>
            </p:blipFill>
            <p:spPr>
              <a:xfrm>
                <a:off x="9011910" y="1080930"/>
                <a:ext cx="816840" cy="392400"/>
              </a:xfrm>
              <a:prstGeom prst="rect">
                <a:avLst/>
              </a:prstGeom>
            </p:spPr>
          </p:pic>
        </mc:Fallback>
      </mc:AlternateContent>
      <mc:AlternateContent xmlns:mc="http://schemas.openxmlformats.org/markup-compatibility/2006" xmlns:p14="http://schemas.microsoft.com/office/powerpoint/2010/main">
        <mc:Choice Requires="p14">
          <p:contentPart p14:bwMode="auto" r:id="rId89">
            <p14:nvContentPartPr>
              <p14:cNvPr id="162" name="Ink 161">
                <a:extLst>
                  <a:ext uri="{FF2B5EF4-FFF2-40B4-BE49-F238E27FC236}">
                    <a16:creationId xmlns:a16="http://schemas.microsoft.com/office/drawing/2014/main" id="{069AC2FC-A971-C312-12FC-E07DE9BA7B51}"/>
                  </a:ext>
                </a:extLst>
              </p14:cNvPr>
              <p14:cNvContentPartPr/>
              <p14:nvPr/>
            </p14:nvContentPartPr>
            <p14:xfrm>
              <a:off x="6907710" y="1131330"/>
              <a:ext cx="970200" cy="356760"/>
            </p14:xfrm>
          </p:contentPart>
        </mc:Choice>
        <mc:Fallback xmlns="">
          <p:pic>
            <p:nvPicPr>
              <p:cNvPr id="162" name="Ink 161">
                <a:extLst>
                  <a:ext uri="{FF2B5EF4-FFF2-40B4-BE49-F238E27FC236}">
                    <a16:creationId xmlns:a16="http://schemas.microsoft.com/office/drawing/2014/main" id="{069AC2FC-A971-C312-12FC-E07DE9BA7B51}"/>
                  </a:ext>
                </a:extLst>
              </p:cNvPr>
              <p:cNvPicPr/>
              <p:nvPr/>
            </p:nvPicPr>
            <p:blipFill>
              <a:blip r:embed="rId90"/>
              <a:stretch>
                <a:fillRect/>
              </a:stretch>
            </p:blipFill>
            <p:spPr>
              <a:xfrm>
                <a:off x="6901590" y="1125210"/>
                <a:ext cx="982440" cy="369000"/>
              </a:xfrm>
              <a:prstGeom prst="rect">
                <a:avLst/>
              </a:prstGeom>
            </p:spPr>
          </p:pic>
        </mc:Fallback>
      </mc:AlternateContent>
      <mc:AlternateContent xmlns:mc="http://schemas.openxmlformats.org/markup-compatibility/2006" xmlns:p14="http://schemas.microsoft.com/office/powerpoint/2010/main">
        <mc:Choice Requires="p14">
          <p:contentPart p14:bwMode="auto" r:id="rId91">
            <p14:nvContentPartPr>
              <p14:cNvPr id="163" name="Ink 162">
                <a:extLst>
                  <a:ext uri="{FF2B5EF4-FFF2-40B4-BE49-F238E27FC236}">
                    <a16:creationId xmlns:a16="http://schemas.microsoft.com/office/drawing/2014/main" id="{8F27711C-19AB-C3D1-CEDA-179292BBC832}"/>
                  </a:ext>
                </a:extLst>
              </p14:cNvPr>
              <p14:cNvContentPartPr/>
              <p14:nvPr/>
            </p14:nvContentPartPr>
            <p14:xfrm>
              <a:off x="5876310" y="1065450"/>
              <a:ext cx="982800" cy="421200"/>
            </p14:xfrm>
          </p:contentPart>
        </mc:Choice>
        <mc:Fallback xmlns="">
          <p:pic>
            <p:nvPicPr>
              <p:cNvPr id="163" name="Ink 162">
                <a:extLst>
                  <a:ext uri="{FF2B5EF4-FFF2-40B4-BE49-F238E27FC236}">
                    <a16:creationId xmlns:a16="http://schemas.microsoft.com/office/drawing/2014/main" id="{8F27711C-19AB-C3D1-CEDA-179292BBC832}"/>
                  </a:ext>
                </a:extLst>
              </p:cNvPr>
              <p:cNvPicPr/>
              <p:nvPr/>
            </p:nvPicPr>
            <p:blipFill>
              <a:blip r:embed="rId92"/>
              <a:stretch>
                <a:fillRect/>
              </a:stretch>
            </p:blipFill>
            <p:spPr>
              <a:xfrm>
                <a:off x="5870190" y="1059330"/>
                <a:ext cx="995040" cy="433440"/>
              </a:xfrm>
              <a:prstGeom prst="rect">
                <a:avLst/>
              </a:prstGeom>
            </p:spPr>
          </p:pic>
        </mc:Fallback>
      </mc:AlternateContent>
      <mc:AlternateContent xmlns:mc="http://schemas.openxmlformats.org/markup-compatibility/2006" xmlns:p14="http://schemas.microsoft.com/office/powerpoint/2010/main">
        <mc:Choice Requires="p14">
          <p:contentPart p14:bwMode="auto" r:id="rId93">
            <p14:nvContentPartPr>
              <p14:cNvPr id="42" name="Ink 41">
                <a:extLst>
                  <a:ext uri="{FF2B5EF4-FFF2-40B4-BE49-F238E27FC236}">
                    <a16:creationId xmlns:a16="http://schemas.microsoft.com/office/drawing/2014/main" id="{66F4C1B5-D5FC-4B18-4974-4E5CF35E3E4D}"/>
                  </a:ext>
                </a:extLst>
              </p14:cNvPr>
              <p14:cNvContentPartPr/>
              <p14:nvPr/>
            </p14:nvContentPartPr>
            <p14:xfrm>
              <a:off x="9307534" y="556153"/>
              <a:ext cx="101160" cy="82080"/>
            </p14:xfrm>
          </p:contentPart>
        </mc:Choice>
        <mc:Fallback xmlns="">
          <p:pic>
            <p:nvPicPr>
              <p:cNvPr id="42" name="Ink 41">
                <a:extLst>
                  <a:ext uri="{FF2B5EF4-FFF2-40B4-BE49-F238E27FC236}">
                    <a16:creationId xmlns:a16="http://schemas.microsoft.com/office/drawing/2014/main" id="{66F4C1B5-D5FC-4B18-4974-4E5CF35E3E4D}"/>
                  </a:ext>
                </a:extLst>
              </p:cNvPr>
              <p:cNvPicPr/>
              <p:nvPr/>
            </p:nvPicPr>
            <p:blipFill>
              <a:blip r:embed="rId94"/>
              <a:stretch>
                <a:fillRect/>
              </a:stretch>
            </p:blipFill>
            <p:spPr>
              <a:xfrm>
                <a:off x="9301414" y="550033"/>
                <a:ext cx="113400" cy="94320"/>
              </a:xfrm>
              <a:prstGeom prst="rect">
                <a:avLst/>
              </a:prstGeom>
            </p:spPr>
          </p:pic>
        </mc:Fallback>
      </mc:AlternateContent>
      <mc:AlternateContent xmlns:mc="http://schemas.openxmlformats.org/markup-compatibility/2006" xmlns:p14="http://schemas.microsoft.com/office/powerpoint/2010/main">
        <mc:Choice Requires="p14">
          <p:contentPart p14:bwMode="auto" r:id="rId95">
            <p14:nvContentPartPr>
              <p14:cNvPr id="43" name="Ink 42">
                <a:extLst>
                  <a:ext uri="{FF2B5EF4-FFF2-40B4-BE49-F238E27FC236}">
                    <a16:creationId xmlns:a16="http://schemas.microsoft.com/office/drawing/2014/main" id="{0C7A8D5A-C8CC-7987-B39C-070CE964F56C}"/>
                  </a:ext>
                </a:extLst>
              </p14:cNvPr>
              <p14:cNvContentPartPr/>
              <p14:nvPr/>
            </p14:nvContentPartPr>
            <p14:xfrm>
              <a:off x="9371974" y="516553"/>
              <a:ext cx="185760" cy="284040"/>
            </p14:xfrm>
          </p:contentPart>
        </mc:Choice>
        <mc:Fallback xmlns="">
          <p:pic>
            <p:nvPicPr>
              <p:cNvPr id="43" name="Ink 42">
                <a:extLst>
                  <a:ext uri="{FF2B5EF4-FFF2-40B4-BE49-F238E27FC236}">
                    <a16:creationId xmlns:a16="http://schemas.microsoft.com/office/drawing/2014/main" id="{0C7A8D5A-C8CC-7987-B39C-070CE964F56C}"/>
                  </a:ext>
                </a:extLst>
              </p:cNvPr>
              <p:cNvPicPr/>
              <p:nvPr/>
            </p:nvPicPr>
            <p:blipFill>
              <a:blip r:embed="rId96"/>
              <a:stretch>
                <a:fillRect/>
              </a:stretch>
            </p:blipFill>
            <p:spPr>
              <a:xfrm>
                <a:off x="9365854" y="510433"/>
                <a:ext cx="198000" cy="296280"/>
              </a:xfrm>
              <a:prstGeom prst="rect">
                <a:avLst/>
              </a:prstGeom>
            </p:spPr>
          </p:pic>
        </mc:Fallback>
      </mc:AlternateContent>
      <mc:AlternateContent xmlns:mc="http://schemas.openxmlformats.org/markup-compatibility/2006" xmlns:p14="http://schemas.microsoft.com/office/powerpoint/2010/main">
        <mc:Choice Requires="p14">
          <p:contentPart p14:bwMode="auto" r:id="rId97">
            <p14:nvContentPartPr>
              <p14:cNvPr id="44" name="Ink 43">
                <a:extLst>
                  <a:ext uri="{FF2B5EF4-FFF2-40B4-BE49-F238E27FC236}">
                    <a16:creationId xmlns:a16="http://schemas.microsoft.com/office/drawing/2014/main" id="{B78D2934-F689-EA7C-DFB1-C5371A60101F}"/>
                  </a:ext>
                </a:extLst>
              </p14:cNvPr>
              <p14:cNvContentPartPr/>
              <p14:nvPr/>
            </p14:nvContentPartPr>
            <p14:xfrm>
              <a:off x="9491854" y="683593"/>
              <a:ext cx="68040" cy="64800"/>
            </p14:xfrm>
          </p:contentPart>
        </mc:Choice>
        <mc:Fallback xmlns="">
          <p:pic>
            <p:nvPicPr>
              <p:cNvPr id="44" name="Ink 43">
                <a:extLst>
                  <a:ext uri="{FF2B5EF4-FFF2-40B4-BE49-F238E27FC236}">
                    <a16:creationId xmlns:a16="http://schemas.microsoft.com/office/drawing/2014/main" id="{B78D2934-F689-EA7C-DFB1-C5371A60101F}"/>
                  </a:ext>
                </a:extLst>
              </p:cNvPr>
              <p:cNvPicPr/>
              <p:nvPr/>
            </p:nvPicPr>
            <p:blipFill>
              <a:blip r:embed="rId98"/>
              <a:stretch>
                <a:fillRect/>
              </a:stretch>
            </p:blipFill>
            <p:spPr>
              <a:xfrm>
                <a:off x="9485734" y="677473"/>
                <a:ext cx="80280" cy="77040"/>
              </a:xfrm>
              <a:prstGeom prst="rect">
                <a:avLst/>
              </a:prstGeom>
            </p:spPr>
          </p:pic>
        </mc:Fallback>
      </mc:AlternateContent>
      <mc:AlternateContent xmlns:mc="http://schemas.openxmlformats.org/markup-compatibility/2006" xmlns:p14="http://schemas.microsoft.com/office/powerpoint/2010/main">
        <mc:Choice Requires="p14">
          <p:contentPart p14:bwMode="auto" r:id="rId99">
            <p14:nvContentPartPr>
              <p14:cNvPr id="164" name="Ink 163">
                <a:extLst>
                  <a:ext uri="{FF2B5EF4-FFF2-40B4-BE49-F238E27FC236}">
                    <a16:creationId xmlns:a16="http://schemas.microsoft.com/office/drawing/2014/main" id="{EED04716-2D96-6F99-D313-ED72788954EC}"/>
                  </a:ext>
                </a:extLst>
              </p14:cNvPr>
              <p14:cNvContentPartPr/>
              <p14:nvPr/>
            </p14:nvContentPartPr>
            <p14:xfrm>
              <a:off x="9639030" y="646410"/>
              <a:ext cx="715320" cy="439560"/>
            </p14:xfrm>
          </p:contentPart>
        </mc:Choice>
        <mc:Fallback xmlns="">
          <p:pic>
            <p:nvPicPr>
              <p:cNvPr id="164" name="Ink 163">
                <a:extLst>
                  <a:ext uri="{FF2B5EF4-FFF2-40B4-BE49-F238E27FC236}">
                    <a16:creationId xmlns:a16="http://schemas.microsoft.com/office/drawing/2014/main" id="{EED04716-2D96-6F99-D313-ED72788954EC}"/>
                  </a:ext>
                </a:extLst>
              </p:cNvPr>
              <p:cNvPicPr/>
              <p:nvPr/>
            </p:nvPicPr>
            <p:blipFill>
              <a:blip r:embed="rId100"/>
              <a:stretch>
                <a:fillRect/>
              </a:stretch>
            </p:blipFill>
            <p:spPr>
              <a:xfrm>
                <a:off x="9632910" y="640290"/>
                <a:ext cx="727560" cy="451800"/>
              </a:xfrm>
              <a:prstGeom prst="rect">
                <a:avLst/>
              </a:prstGeom>
            </p:spPr>
          </p:pic>
        </mc:Fallback>
      </mc:AlternateContent>
      <mc:AlternateContent xmlns:mc="http://schemas.openxmlformats.org/markup-compatibility/2006" xmlns:p14="http://schemas.microsoft.com/office/powerpoint/2010/main">
        <mc:Choice Requires="p14">
          <p:contentPart p14:bwMode="auto" r:id="rId101">
            <p14:nvContentPartPr>
              <p14:cNvPr id="166" name="Ink 165">
                <a:extLst>
                  <a:ext uri="{FF2B5EF4-FFF2-40B4-BE49-F238E27FC236}">
                    <a16:creationId xmlns:a16="http://schemas.microsoft.com/office/drawing/2014/main" id="{9D8AC22C-2BD2-D8C3-EC2E-A05E863CB809}"/>
                  </a:ext>
                </a:extLst>
              </p14:cNvPr>
              <p14:cNvContentPartPr/>
              <p14:nvPr/>
            </p14:nvContentPartPr>
            <p14:xfrm>
              <a:off x="10315110" y="651810"/>
              <a:ext cx="40680" cy="188640"/>
            </p14:xfrm>
          </p:contentPart>
        </mc:Choice>
        <mc:Fallback xmlns="">
          <p:pic>
            <p:nvPicPr>
              <p:cNvPr id="166" name="Ink 165">
                <a:extLst>
                  <a:ext uri="{FF2B5EF4-FFF2-40B4-BE49-F238E27FC236}">
                    <a16:creationId xmlns:a16="http://schemas.microsoft.com/office/drawing/2014/main" id="{9D8AC22C-2BD2-D8C3-EC2E-A05E863CB809}"/>
                  </a:ext>
                </a:extLst>
              </p:cNvPr>
              <p:cNvPicPr/>
              <p:nvPr/>
            </p:nvPicPr>
            <p:blipFill>
              <a:blip r:embed="rId102"/>
              <a:stretch>
                <a:fillRect/>
              </a:stretch>
            </p:blipFill>
            <p:spPr>
              <a:xfrm>
                <a:off x="10308990" y="645690"/>
                <a:ext cx="52920" cy="200880"/>
              </a:xfrm>
              <a:prstGeom prst="rect">
                <a:avLst/>
              </a:prstGeom>
            </p:spPr>
          </p:pic>
        </mc:Fallback>
      </mc:AlternateContent>
      <p:grpSp>
        <p:nvGrpSpPr>
          <p:cNvPr id="168" name="Group 167">
            <a:extLst>
              <a:ext uri="{FF2B5EF4-FFF2-40B4-BE49-F238E27FC236}">
                <a16:creationId xmlns:a16="http://schemas.microsoft.com/office/drawing/2014/main" id="{69129CF2-067B-AB5F-7DC9-054CB1433CB5}"/>
              </a:ext>
            </a:extLst>
          </p:cNvPr>
          <p:cNvGrpSpPr/>
          <p:nvPr/>
        </p:nvGrpSpPr>
        <p:grpSpPr>
          <a:xfrm>
            <a:off x="10076070" y="373273"/>
            <a:ext cx="654544" cy="308057"/>
            <a:chOff x="10076070" y="373273"/>
            <a:chExt cx="654544" cy="308057"/>
          </a:xfrm>
        </p:grpSpPr>
        <mc:AlternateContent xmlns:mc="http://schemas.openxmlformats.org/markup-compatibility/2006" xmlns:p14="http://schemas.microsoft.com/office/powerpoint/2010/main">
          <mc:Choice Requires="p14">
            <p:contentPart p14:bwMode="auto" r:id="rId103">
              <p14:nvContentPartPr>
                <p14:cNvPr id="46" name="Ink 45">
                  <a:extLst>
                    <a:ext uri="{FF2B5EF4-FFF2-40B4-BE49-F238E27FC236}">
                      <a16:creationId xmlns:a16="http://schemas.microsoft.com/office/drawing/2014/main" id="{8676CA07-D02B-47AB-455B-29E241A1DBAC}"/>
                    </a:ext>
                  </a:extLst>
                </p14:cNvPr>
                <p14:cNvContentPartPr/>
                <p14:nvPr/>
              </p14:nvContentPartPr>
              <p14:xfrm>
                <a:off x="10168654" y="373273"/>
                <a:ext cx="180720" cy="160200"/>
              </p14:xfrm>
            </p:contentPart>
          </mc:Choice>
          <mc:Fallback xmlns="">
            <p:pic>
              <p:nvPicPr>
                <p:cNvPr id="46" name="Ink 45">
                  <a:extLst>
                    <a:ext uri="{FF2B5EF4-FFF2-40B4-BE49-F238E27FC236}">
                      <a16:creationId xmlns:a16="http://schemas.microsoft.com/office/drawing/2014/main" id="{8676CA07-D02B-47AB-455B-29E241A1DBAC}"/>
                    </a:ext>
                  </a:extLst>
                </p:cNvPr>
                <p:cNvPicPr/>
                <p:nvPr/>
              </p:nvPicPr>
              <p:blipFill>
                <a:blip r:embed="rId104"/>
                <a:stretch>
                  <a:fillRect/>
                </a:stretch>
              </p:blipFill>
              <p:spPr>
                <a:xfrm>
                  <a:off x="10162534" y="367153"/>
                  <a:ext cx="192960" cy="172440"/>
                </a:xfrm>
                <a:prstGeom prst="rect">
                  <a:avLst/>
                </a:prstGeom>
              </p:spPr>
            </p:pic>
          </mc:Fallback>
        </mc:AlternateContent>
        <mc:AlternateContent xmlns:mc="http://schemas.openxmlformats.org/markup-compatibility/2006" xmlns:p14="http://schemas.microsoft.com/office/powerpoint/2010/main">
          <mc:Choice Requires="p14">
            <p:contentPart p14:bwMode="auto" r:id="rId105">
              <p14:nvContentPartPr>
                <p14:cNvPr id="47" name="Ink 46">
                  <a:extLst>
                    <a:ext uri="{FF2B5EF4-FFF2-40B4-BE49-F238E27FC236}">
                      <a16:creationId xmlns:a16="http://schemas.microsoft.com/office/drawing/2014/main" id="{AD48D899-46A8-F107-329A-6DBDBD7BECFE}"/>
                    </a:ext>
                  </a:extLst>
                </p14:cNvPr>
                <p14:cNvContentPartPr/>
                <p14:nvPr/>
              </p14:nvContentPartPr>
              <p14:xfrm>
                <a:off x="10398694" y="445273"/>
                <a:ext cx="113040" cy="74520"/>
              </p14:xfrm>
            </p:contentPart>
          </mc:Choice>
          <mc:Fallback xmlns="">
            <p:pic>
              <p:nvPicPr>
                <p:cNvPr id="47" name="Ink 46">
                  <a:extLst>
                    <a:ext uri="{FF2B5EF4-FFF2-40B4-BE49-F238E27FC236}">
                      <a16:creationId xmlns:a16="http://schemas.microsoft.com/office/drawing/2014/main" id="{AD48D899-46A8-F107-329A-6DBDBD7BECFE}"/>
                    </a:ext>
                  </a:extLst>
                </p:cNvPr>
                <p:cNvPicPr/>
                <p:nvPr/>
              </p:nvPicPr>
              <p:blipFill>
                <a:blip r:embed="rId106"/>
                <a:stretch>
                  <a:fillRect/>
                </a:stretch>
              </p:blipFill>
              <p:spPr>
                <a:xfrm>
                  <a:off x="10392574" y="439153"/>
                  <a:ext cx="125280" cy="86760"/>
                </a:xfrm>
                <a:prstGeom prst="rect">
                  <a:avLst/>
                </a:prstGeom>
              </p:spPr>
            </p:pic>
          </mc:Fallback>
        </mc:AlternateContent>
        <mc:AlternateContent xmlns:mc="http://schemas.openxmlformats.org/markup-compatibility/2006" xmlns:p14="http://schemas.microsoft.com/office/powerpoint/2010/main">
          <mc:Choice Requires="p14">
            <p:contentPart p14:bwMode="auto" r:id="rId107">
              <p14:nvContentPartPr>
                <p14:cNvPr id="48" name="Ink 47">
                  <a:extLst>
                    <a:ext uri="{FF2B5EF4-FFF2-40B4-BE49-F238E27FC236}">
                      <a16:creationId xmlns:a16="http://schemas.microsoft.com/office/drawing/2014/main" id="{731B31AC-3DCD-5CFF-C29A-3CC1576FC122}"/>
                    </a:ext>
                  </a:extLst>
                </p14:cNvPr>
                <p14:cNvContentPartPr/>
                <p14:nvPr/>
              </p14:nvContentPartPr>
              <p14:xfrm>
                <a:off x="10566454" y="436993"/>
                <a:ext cx="74160" cy="87840"/>
              </p14:xfrm>
            </p:contentPart>
          </mc:Choice>
          <mc:Fallback xmlns="">
            <p:pic>
              <p:nvPicPr>
                <p:cNvPr id="48" name="Ink 47">
                  <a:extLst>
                    <a:ext uri="{FF2B5EF4-FFF2-40B4-BE49-F238E27FC236}">
                      <a16:creationId xmlns:a16="http://schemas.microsoft.com/office/drawing/2014/main" id="{731B31AC-3DCD-5CFF-C29A-3CC1576FC122}"/>
                    </a:ext>
                  </a:extLst>
                </p:cNvPr>
                <p:cNvPicPr/>
                <p:nvPr/>
              </p:nvPicPr>
              <p:blipFill>
                <a:blip r:embed="rId108"/>
                <a:stretch>
                  <a:fillRect/>
                </a:stretch>
              </p:blipFill>
              <p:spPr>
                <a:xfrm>
                  <a:off x="10560334" y="430873"/>
                  <a:ext cx="86400" cy="100080"/>
                </a:xfrm>
                <a:prstGeom prst="rect">
                  <a:avLst/>
                </a:prstGeom>
              </p:spPr>
            </p:pic>
          </mc:Fallback>
        </mc:AlternateContent>
        <mc:AlternateContent xmlns:mc="http://schemas.openxmlformats.org/markup-compatibility/2006" xmlns:p14="http://schemas.microsoft.com/office/powerpoint/2010/main">
          <mc:Choice Requires="p14">
            <p:contentPart p14:bwMode="auto" r:id="rId109">
              <p14:nvContentPartPr>
                <p14:cNvPr id="49" name="Ink 48">
                  <a:extLst>
                    <a:ext uri="{FF2B5EF4-FFF2-40B4-BE49-F238E27FC236}">
                      <a16:creationId xmlns:a16="http://schemas.microsoft.com/office/drawing/2014/main" id="{DA5AC4F2-3460-51A9-06E0-86B4B177DCE5}"/>
                    </a:ext>
                  </a:extLst>
                </p14:cNvPr>
                <p14:cNvContentPartPr/>
                <p14:nvPr/>
              </p14:nvContentPartPr>
              <p14:xfrm>
                <a:off x="10567174" y="478753"/>
                <a:ext cx="70920" cy="6480"/>
              </p14:xfrm>
            </p:contentPart>
          </mc:Choice>
          <mc:Fallback xmlns="">
            <p:pic>
              <p:nvPicPr>
                <p:cNvPr id="49" name="Ink 48">
                  <a:extLst>
                    <a:ext uri="{FF2B5EF4-FFF2-40B4-BE49-F238E27FC236}">
                      <a16:creationId xmlns:a16="http://schemas.microsoft.com/office/drawing/2014/main" id="{DA5AC4F2-3460-51A9-06E0-86B4B177DCE5}"/>
                    </a:ext>
                  </a:extLst>
                </p:cNvPr>
                <p:cNvPicPr/>
                <p:nvPr/>
              </p:nvPicPr>
              <p:blipFill>
                <a:blip r:embed="rId110"/>
                <a:stretch>
                  <a:fillRect/>
                </a:stretch>
              </p:blipFill>
              <p:spPr>
                <a:xfrm>
                  <a:off x="10561054" y="472633"/>
                  <a:ext cx="83160" cy="1872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51" name="Ink 50">
                  <a:extLst>
                    <a:ext uri="{FF2B5EF4-FFF2-40B4-BE49-F238E27FC236}">
                      <a16:creationId xmlns:a16="http://schemas.microsoft.com/office/drawing/2014/main" id="{68A8F2BD-CD2F-112F-ED7E-804A379A73C9}"/>
                    </a:ext>
                  </a:extLst>
                </p14:cNvPr>
                <p14:cNvContentPartPr/>
                <p14:nvPr/>
              </p14:nvContentPartPr>
              <p14:xfrm>
                <a:off x="10678414" y="373633"/>
                <a:ext cx="52200" cy="178560"/>
              </p14:xfrm>
            </p:contentPart>
          </mc:Choice>
          <mc:Fallback xmlns="">
            <p:pic>
              <p:nvPicPr>
                <p:cNvPr id="51" name="Ink 50">
                  <a:extLst>
                    <a:ext uri="{FF2B5EF4-FFF2-40B4-BE49-F238E27FC236}">
                      <a16:creationId xmlns:a16="http://schemas.microsoft.com/office/drawing/2014/main" id="{68A8F2BD-CD2F-112F-ED7E-804A379A73C9}"/>
                    </a:ext>
                  </a:extLst>
                </p:cNvPr>
                <p:cNvPicPr/>
                <p:nvPr/>
              </p:nvPicPr>
              <p:blipFill>
                <a:blip r:embed="rId112"/>
                <a:stretch>
                  <a:fillRect/>
                </a:stretch>
              </p:blipFill>
              <p:spPr>
                <a:xfrm>
                  <a:off x="10672294" y="367513"/>
                  <a:ext cx="64440" cy="190800"/>
                </a:xfrm>
                <a:prstGeom prst="rect">
                  <a:avLst/>
                </a:prstGeom>
              </p:spPr>
            </p:pic>
          </mc:Fallback>
        </mc:AlternateContent>
        <mc:AlternateContent xmlns:mc="http://schemas.openxmlformats.org/markup-compatibility/2006" xmlns:p14="http://schemas.microsoft.com/office/powerpoint/2010/main">
          <mc:Choice Requires="p14">
            <p:contentPart p14:bwMode="auto" r:id="rId113">
              <p14:nvContentPartPr>
                <p14:cNvPr id="167" name="Ink 166">
                  <a:extLst>
                    <a:ext uri="{FF2B5EF4-FFF2-40B4-BE49-F238E27FC236}">
                      <a16:creationId xmlns:a16="http://schemas.microsoft.com/office/drawing/2014/main" id="{DA05268F-CBF5-A43E-CD35-EE143B4972E5}"/>
                    </a:ext>
                  </a:extLst>
                </p14:cNvPr>
                <p14:cNvContentPartPr/>
                <p14:nvPr/>
              </p14:nvContentPartPr>
              <p14:xfrm>
                <a:off x="10076070" y="628410"/>
                <a:ext cx="323280" cy="52920"/>
              </p14:xfrm>
            </p:contentPart>
          </mc:Choice>
          <mc:Fallback xmlns="">
            <p:pic>
              <p:nvPicPr>
                <p:cNvPr id="167" name="Ink 166">
                  <a:extLst>
                    <a:ext uri="{FF2B5EF4-FFF2-40B4-BE49-F238E27FC236}">
                      <a16:creationId xmlns:a16="http://schemas.microsoft.com/office/drawing/2014/main" id="{DA05268F-CBF5-A43E-CD35-EE143B4972E5}"/>
                    </a:ext>
                  </a:extLst>
                </p:cNvPr>
                <p:cNvPicPr/>
                <p:nvPr/>
              </p:nvPicPr>
              <p:blipFill>
                <a:blip r:embed="rId114"/>
                <a:stretch>
                  <a:fillRect/>
                </a:stretch>
              </p:blipFill>
              <p:spPr>
                <a:xfrm>
                  <a:off x="10069950" y="622290"/>
                  <a:ext cx="335520" cy="6516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15">
            <p14:nvContentPartPr>
              <p14:cNvPr id="169" name="Ink 168">
                <a:extLst>
                  <a:ext uri="{FF2B5EF4-FFF2-40B4-BE49-F238E27FC236}">
                    <a16:creationId xmlns:a16="http://schemas.microsoft.com/office/drawing/2014/main" id="{9B678DFF-E52F-D6E3-D4FC-E703A2553C1F}"/>
                  </a:ext>
                </a:extLst>
              </p14:cNvPr>
              <p14:cNvContentPartPr/>
              <p14:nvPr/>
            </p14:nvContentPartPr>
            <p14:xfrm>
              <a:off x="10145910" y="628410"/>
              <a:ext cx="182880" cy="144360"/>
            </p14:xfrm>
          </p:contentPart>
        </mc:Choice>
        <mc:Fallback xmlns="">
          <p:pic>
            <p:nvPicPr>
              <p:cNvPr id="169" name="Ink 168">
                <a:extLst>
                  <a:ext uri="{FF2B5EF4-FFF2-40B4-BE49-F238E27FC236}">
                    <a16:creationId xmlns:a16="http://schemas.microsoft.com/office/drawing/2014/main" id="{9B678DFF-E52F-D6E3-D4FC-E703A2553C1F}"/>
                  </a:ext>
                </a:extLst>
              </p:cNvPr>
              <p:cNvPicPr/>
              <p:nvPr/>
            </p:nvPicPr>
            <p:blipFill>
              <a:blip r:embed="rId116"/>
              <a:stretch>
                <a:fillRect/>
              </a:stretch>
            </p:blipFill>
            <p:spPr>
              <a:xfrm>
                <a:off x="10139790" y="622290"/>
                <a:ext cx="195120" cy="156600"/>
              </a:xfrm>
              <a:prstGeom prst="rect">
                <a:avLst/>
              </a:prstGeom>
            </p:spPr>
          </p:pic>
        </mc:Fallback>
      </mc:AlternateContent>
      <p:grpSp>
        <p:nvGrpSpPr>
          <p:cNvPr id="261" name="Group 260">
            <a:extLst>
              <a:ext uri="{FF2B5EF4-FFF2-40B4-BE49-F238E27FC236}">
                <a16:creationId xmlns:a16="http://schemas.microsoft.com/office/drawing/2014/main" id="{C876D039-91D4-F39E-5490-26D6438A9E16}"/>
              </a:ext>
            </a:extLst>
          </p:cNvPr>
          <p:cNvGrpSpPr/>
          <p:nvPr/>
        </p:nvGrpSpPr>
        <p:grpSpPr>
          <a:xfrm>
            <a:off x="6180870" y="3047250"/>
            <a:ext cx="5335200" cy="1870560"/>
            <a:chOff x="6180870" y="3047250"/>
            <a:chExt cx="5335200" cy="1870560"/>
          </a:xfrm>
        </p:grpSpPr>
        <mc:AlternateContent xmlns:mc="http://schemas.openxmlformats.org/markup-compatibility/2006" xmlns:p14="http://schemas.microsoft.com/office/powerpoint/2010/main">
          <mc:Choice Requires="p14">
            <p:contentPart p14:bwMode="auto" r:id="rId117">
              <p14:nvContentPartPr>
                <p14:cNvPr id="177" name="Ink 176">
                  <a:extLst>
                    <a:ext uri="{FF2B5EF4-FFF2-40B4-BE49-F238E27FC236}">
                      <a16:creationId xmlns:a16="http://schemas.microsoft.com/office/drawing/2014/main" id="{CB5F2AC2-2B1C-9CE4-F5FD-ADEEF7CE5C10}"/>
                    </a:ext>
                  </a:extLst>
                </p14:cNvPr>
                <p14:cNvContentPartPr/>
                <p14:nvPr/>
              </p14:nvContentPartPr>
              <p14:xfrm>
                <a:off x="6676950" y="3628650"/>
                <a:ext cx="67320" cy="403200"/>
              </p14:xfrm>
            </p:contentPart>
          </mc:Choice>
          <mc:Fallback xmlns="">
            <p:pic>
              <p:nvPicPr>
                <p:cNvPr id="177" name="Ink 176">
                  <a:extLst>
                    <a:ext uri="{FF2B5EF4-FFF2-40B4-BE49-F238E27FC236}">
                      <a16:creationId xmlns:a16="http://schemas.microsoft.com/office/drawing/2014/main" id="{CB5F2AC2-2B1C-9CE4-F5FD-ADEEF7CE5C10}"/>
                    </a:ext>
                  </a:extLst>
                </p:cNvPr>
                <p:cNvPicPr/>
                <p:nvPr/>
              </p:nvPicPr>
              <p:blipFill>
                <a:blip r:embed="rId118"/>
                <a:stretch>
                  <a:fillRect/>
                </a:stretch>
              </p:blipFill>
              <p:spPr>
                <a:xfrm>
                  <a:off x="6670830" y="3622530"/>
                  <a:ext cx="79560" cy="415440"/>
                </a:xfrm>
                <a:prstGeom prst="rect">
                  <a:avLst/>
                </a:prstGeom>
              </p:spPr>
            </p:pic>
          </mc:Fallback>
        </mc:AlternateContent>
        <mc:AlternateContent xmlns:mc="http://schemas.openxmlformats.org/markup-compatibility/2006" xmlns:p14="http://schemas.microsoft.com/office/powerpoint/2010/main">
          <mc:Choice Requires="p14">
            <p:contentPart p14:bwMode="auto" r:id="rId119">
              <p14:nvContentPartPr>
                <p14:cNvPr id="178" name="Ink 177">
                  <a:extLst>
                    <a:ext uri="{FF2B5EF4-FFF2-40B4-BE49-F238E27FC236}">
                      <a16:creationId xmlns:a16="http://schemas.microsoft.com/office/drawing/2014/main" id="{9A67DA12-F596-72DC-A13C-56FC2B76DB53}"/>
                    </a:ext>
                  </a:extLst>
                </p14:cNvPr>
                <p14:cNvContentPartPr/>
                <p14:nvPr/>
              </p14:nvContentPartPr>
              <p14:xfrm>
                <a:off x="6553110" y="3638010"/>
                <a:ext cx="306000" cy="21600"/>
              </p14:xfrm>
            </p:contentPart>
          </mc:Choice>
          <mc:Fallback xmlns="">
            <p:pic>
              <p:nvPicPr>
                <p:cNvPr id="178" name="Ink 177">
                  <a:extLst>
                    <a:ext uri="{FF2B5EF4-FFF2-40B4-BE49-F238E27FC236}">
                      <a16:creationId xmlns:a16="http://schemas.microsoft.com/office/drawing/2014/main" id="{9A67DA12-F596-72DC-A13C-56FC2B76DB53}"/>
                    </a:ext>
                  </a:extLst>
                </p:cNvPr>
                <p:cNvPicPr/>
                <p:nvPr/>
              </p:nvPicPr>
              <p:blipFill>
                <a:blip r:embed="rId120"/>
                <a:stretch>
                  <a:fillRect/>
                </a:stretch>
              </p:blipFill>
              <p:spPr>
                <a:xfrm>
                  <a:off x="6546990" y="3631890"/>
                  <a:ext cx="318240" cy="33840"/>
                </a:xfrm>
                <a:prstGeom prst="rect">
                  <a:avLst/>
                </a:prstGeom>
              </p:spPr>
            </p:pic>
          </mc:Fallback>
        </mc:AlternateContent>
        <mc:AlternateContent xmlns:mc="http://schemas.openxmlformats.org/markup-compatibility/2006" xmlns:p14="http://schemas.microsoft.com/office/powerpoint/2010/main">
          <mc:Choice Requires="p14">
            <p:contentPart p14:bwMode="auto" r:id="rId121">
              <p14:nvContentPartPr>
                <p14:cNvPr id="180" name="Ink 179">
                  <a:extLst>
                    <a:ext uri="{FF2B5EF4-FFF2-40B4-BE49-F238E27FC236}">
                      <a16:creationId xmlns:a16="http://schemas.microsoft.com/office/drawing/2014/main" id="{F0674F89-9943-3A0E-79E9-2C89D685AF44}"/>
                    </a:ext>
                  </a:extLst>
                </p14:cNvPr>
                <p14:cNvContentPartPr/>
                <p14:nvPr/>
              </p14:nvContentPartPr>
              <p14:xfrm>
                <a:off x="6838950" y="3818730"/>
                <a:ext cx="200160" cy="206640"/>
              </p14:xfrm>
            </p:contentPart>
          </mc:Choice>
          <mc:Fallback xmlns="">
            <p:pic>
              <p:nvPicPr>
                <p:cNvPr id="180" name="Ink 179">
                  <a:extLst>
                    <a:ext uri="{FF2B5EF4-FFF2-40B4-BE49-F238E27FC236}">
                      <a16:creationId xmlns:a16="http://schemas.microsoft.com/office/drawing/2014/main" id="{F0674F89-9943-3A0E-79E9-2C89D685AF44}"/>
                    </a:ext>
                  </a:extLst>
                </p:cNvPr>
                <p:cNvPicPr/>
                <p:nvPr/>
              </p:nvPicPr>
              <p:blipFill>
                <a:blip r:embed="rId122"/>
                <a:stretch>
                  <a:fillRect/>
                </a:stretch>
              </p:blipFill>
              <p:spPr>
                <a:xfrm>
                  <a:off x="6832830" y="3812610"/>
                  <a:ext cx="212400" cy="218880"/>
                </a:xfrm>
                <a:prstGeom prst="rect">
                  <a:avLst/>
                </a:prstGeom>
              </p:spPr>
            </p:pic>
          </mc:Fallback>
        </mc:AlternateContent>
        <mc:AlternateContent xmlns:mc="http://schemas.openxmlformats.org/markup-compatibility/2006" xmlns:p14="http://schemas.microsoft.com/office/powerpoint/2010/main">
          <mc:Choice Requires="p14">
            <p:contentPart p14:bwMode="auto" r:id="rId123">
              <p14:nvContentPartPr>
                <p14:cNvPr id="181" name="Ink 180">
                  <a:extLst>
                    <a:ext uri="{FF2B5EF4-FFF2-40B4-BE49-F238E27FC236}">
                      <a16:creationId xmlns:a16="http://schemas.microsoft.com/office/drawing/2014/main" id="{E5E05D80-1634-8520-A4C6-BEB91B409053}"/>
                    </a:ext>
                  </a:extLst>
                </p14:cNvPr>
                <p14:cNvContentPartPr/>
                <p14:nvPr/>
              </p14:nvContentPartPr>
              <p14:xfrm>
                <a:off x="7123710" y="3803970"/>
                <a:ext cx="125640" cy="206280"/>
              </p14:xfrm>
            </p:contentPart>
          </mc:Choice>
          <mc:Fallback xmlns="">
            <p:pic>
              <p:nvPicPr>
                <p:cNvPr id="181" name="Ink 180">
                  <a:extLst>
                    <a:ext uri="{FF2B5EF4-FFF2-40B4-BE49-F238E27FC236}">
                      <a16:creationId xmlns:a16="http://schemas.microsoft.com/office/drawing/2014/main" id="{E5E05D80-1634-8520-A4C6-BEB91B409053}"/>
                    </a:ext>
                  </a:extLst>
                </p:cNvPr>
                <p:cNvPicPr/>
                <p:nvPr/>
              </p:nvPicPr>
              <p:blipFill>
                <a:blip r:embed="rId124"/>
                <a:stretch>
                  <a:fillRect/>
                </a:stretch>
              </p:blipFill>
              <p:spPr>
                <a:xfrm>
                  <a:off x="7117590" y="3797850"/>
                  <a:ext cx="137880" cy="218520"/>
                </a:xfrm>
                <a:prstGeom prst="rect">
                  <a:avLst/>
                </a:prstGeom>
              </p:spPr>
            </p:pic>
          </mc:Fallback>
        </mc:AlternateContent>
        <mc:AlternateContent xmlns:mc="http://schemas.openxmlformats.org/markup-compatibility/2006" xmlns:p14="http://schemas.microsoft.com/office/powerpoint/2010/main">
          <mc:Choice Requires="p14">
            <p:contentPart p14:bwMode="auto" r:id="rId125">
              <p14:nvContentPartPr>
                <p14:cNvPr id="183" name="Ink 182">
                  <a:extLst>
                    <a:ext uri="{FF2B5EF4-FFF2-40B4-BE49-F238E27FC236}">
                      <a16:creationId xmlns:a16="http://schemas.microsoft.com/office/drawing/2014/main" id="{26227CC4-2A94-80C9-B57F-6A91A99C89F9}"/>
                    </a:ext>
                  </a:extLst>
                </p14:cNvPr>
                <p14:cNvContentPartPr/>
                <p14:nvPr/>
              </p14:nvContentPartPr>
              <p14:xfrm>
                <a:off x="7134150" y="3914490"/>
                <a:ext cx="77400" cy="7920"/>
              </p14:xfrm>
            </p:contentPart>
          </mc:Choice>
          <mc:Fallback xmlns="">
            <p:pic>
              <p:nvPicPr>
                <p:cNvPr id="183" name="Ink 182">
                  <a:extLst>
                    <a:ext uri="{FF2B5EF4-FFF2-40B4-BE49-F238E27FC236}">
                      <a16:creationId xmlns:a16="http://schemas.microsoft.com/office/drawing/2014/main" id="{26227CC4-2A94-80C9-B57F-6A91A99C89F9}"/>
                    </a:ext>
                  </a:extLst>
                </p:cNvPr>
                <p:cNvPicPr/>
                <p:nvPr/>
              </p:nvPicPr>
              <p:blipFill>
                <a:blip r:embed="rId126"/>
                <a:stretch>
                  <a:fillRect/>
                </a:stretch>
              </p:blipFill>
              <p:spPr>
                <a:xfrm>
                  <a:off x="7128030" y="3908370"/>
                  <a:ext cx="89640" cy="20160"/>
                </a:xfrm>
                <a:prstGeom prst="rect">
                  <a:avLst/>
                </a:prstGeom>
              </p:spPr>
            </p:pic>
          </mc:Fallback>
        </mc:AlternateContent>
        <mc:AlternateContent xmlns:mc="http://schemas.openxmlformats.org/markup-compatibility/2006" xmlns:p14="http://schemas.microsoft.com/office/powerpoint/2010/main">
          <mc:Choice Requires="p14">
            <p:contentPart p14:bwMode="auto" r:id="rId127">
              <p14:nvContentPartPr>
                <p14:cNvPr id="185" name="Ink 184">
                  <a:extLst>
                    <a:ext uri="{FF2B5EF4-FFF2-40B4-BE49-F238E27FC236}">
                      <a16:creationId xmlns:a16="http://schemas.microsoft.com/office/drawing/2014/main" id="{F96F662B-6EC1-8B9B-983D-B125A2D2CEE4}"/>
                    </a:ext>
                  </a:extLst>
                </p14:cNvPr>
                <p14:cNvContentPartPr/>
                <p14:nvPr/>
              </p14:nvContentPartPr>
              <p14:xfrm>
                <a:off x="7313070" y="3829890"/>
                <a:ext cx="164880" cy="212400"/>
              </p14:xfrm>
            </p:contentPart>
          </mc:Choice>
          <mc:Fallback xmlns="">
            <p:pic>
              <p:nvPicPr>
                <p:cNvPr id="185" name="Ink 184">
                  <a:extLst>
                    <a:ext uri="{FF2B5EF4-FFF2-40B4-BE49-F238E27FC236}">
                      <a16:creationId xmlns:a16="http://schemas.microsoft.com/office/drawing/2014/main" id="{F96F662B-6EC1-8B9B-983D-B125A2D2CEE4}"/>
                    </a:ext>
                  </a:extLst>
                </p:cNvPr>
                <p:cNvPicPr/>
                <p:nvPr/>
              </p:nvPicPr>
              <p:blipFill>
                <a:blip r:embed="rId128"/>
                <a:stretch>
                  <a:fillRect/>
                </a:stretch>
              </p:blipFill>
              <p:spPr>
                <a:xfrm>
                  <a:off x="7306950" y="3823770"/>
                  <a:ext cx="177120" cy="224640"/>
                </a:xfrm>
                <a:prstGeom prst="rect">
                  <a:avLst/>
                </a:prstGeom>
              </p:spPr>
            </p:pic>
          </mc:Fallback>
        </mc:AlternateContent>
        <mc:AlternateContent xmlns:mc="http://schemas.openxmlformats.org/markup-compatibility/2006" xmlns:p14="http://schemas.microsoft.com/office/powerpoint/2010/main">
          <mc:Choice Requires="p14">
            <p:contentPart p14:bwMode="auto" r:id="rId129">
              <p14:nvContentPartPr>
                <p14:cNvPr id="187" name="Ink 186">
                  <a:extLst>
                    <a:ext uri="{FF2B5EF4-FFF2-40B4-BE49-F238E27FC236}">
                      <a16:creationId xmlns:a16="http://schemas.microsoft.com/office/drawing/2014/main" id="{4B308C0D-C8CB-5DFF-53C8-1F198862D5D9}"/>
                    </a:ext>
                  </a:extLst>
                </p14:cNvPr>
                <p14:cNvContentPartPr/>
                <p14:nvPr/>
              </p14:nvContentPartPr>
              <p14:xfrm>
                <a:off x="7570110" y="3818370"/>
                <a:ext cx="144720" cy="221760"/>
              </p14:xfrm>
            </p:contentPart>
          </mc:Choice>
          <mc:Fallback xmlns="">
            <p:pic>
              <p:nvPicPr>
                <p:cNvPr id="187" name="Ink 186">
                  <a:extLst>
                    <a:ext uri="{FF2B5EF4-FFF2-40B4-BE49-F238E27FC236}">
                      <a16:creationId xmlns:a16="http://schemas.microsoft.com/office/drawing/2014/main" id="{4B308C0D-C8CB-5DFF-53C8-1F198862D5D9}"/>
                    </a:ext>
                  </a:extLst>
                </p:cNvPr>
                <p:cNvPicPr/>
                <p:nvPr/>
              </p:nvPicPr>
              <p:blipFill>
                <a:blip r:embed="rId130"/>
                <a:stretch>
                  <a:fillRect/>
                </a:stretch>
              </p:blipFill>
              <p:spPr>
                <a:xfrm>
                  <a:off x="7563990" y="3812250"/>
                  <a:ext cx="156960" cy="234000"/>
                </a:xfrm>
                <a:prstGeom prst="rect">
                  <a:avLst/>
                </a:prstGeom>
              </p:spPr>
            </p:pic>
          </mc:Fallback>
        </mc:AlternateContent>
        <mc:AlternateContent xmlns:mc="http://schemas.openxmlformats.org/markup-compatibility/2006" xmlns:p14="http://schemas.microsoft.com/office/powerpoint/2010/main">
          <mc:Choice Requires="p14">
            <p:contentPart p14:bwMode="auto" r:id="rId131">
              <p14:nvContentPartPr>
                <p14:cNvPr id="188" name="Ink 187">
                  <a:extLst>
                    <a:ext uri="{FF2B5EF4-FFF2-40B4-BE49-F238E27FC236}">
                      <a16:creationId xmlns:a16="http://schemas.microsoft.com/office/drawing/2014/main" id="{A8ACE89F-FF60-9852-D82C-6FDA9E2693C6}"/>
                    </a:ext>
                  </a:extLst>
                </p14:cNvPr>
                <p14:cNvContentPartPr/>
                <p14:nvPr/>
              </p14:nvContentPartPr>
              <p14:xfrm>
                <a:off x="7784670" y="3688410"/>
                <a:ext cx="164160" cy="312120"/>
              </p14:xfrm>
            </p:contentPart>
          </mc:Choice>
          <mc:Fallback xmlns="">
            <p:pic>
              <p:nvPicPr>
                <p:cNvPr id="188" name="Ink 187">
                  <a:extLst>
                    <a:ext uri="{FF2B5EF4-FFF2-40B4-BE49-F238E27FC236}">
                      <a16:creationId xmlns:a16="http://schemas.microsoft.com/office/drawing/2014/main" id="{A8ACE89F-FF60-9852-D82C-6FDA9E2693C6}"/>
                    </a:ext>
                  </a:extLst>
                </p:cNvPr>
                <p:cNvPicPr/>
                <p:nvPr/>
              </p:nvPicPr>
              <p:blipFill>
                <a:blip r:embed="rId132"/>
                <a:stretch>
                  <a:fillRect/>
                </a:stretch>
              </p:blipFill>
              <p:spPr>
                <a:xfrm>
                  <a:off x="7778550" y="3682290"/>
                  <a:ext cx="176400" cy="324360"/>
                </a:xfrm>
                <a:prstGeom prst="rect">
                  <a:avLst/>
                </a:prstGeom>
              </p:spPr>
            </p:pic>
          </mc:Fallback>
        </mc:AlternateContent>
        <mc:AlternateContent xmlns:mc="http://schemas.openxmlformats.org/markup-compatibility/2006" xmlns:p14="http://schemas.microsoft.com/office/powerpoint/2010/main">
          <mc:Choice Requires="p14">
            <p:contentPart p14:bwMode="auto" r:id="rId133">
              <p14:nvContentPartPr>
                <p14:cNvPr id="189" name="Ink 188">
                  <a:extLst>
                    <a:ext uri="{FF2B5EF4-FFF2-40B4-BE49-F238E27FC236}">
                      <a16:creationId xmlns:a16="http://schemas.microsoft.com/office/drawing/2014/main" id="{34C093DB-CE9B-2663-1067-5A9D0F99ED9C}"/>
                    </a:ext>
                  </a:extLst>
                </p14:cNvPr>
                <p14:cNvContentPartPr/>
                <p14:nvPr/>
              </p14:nvContentPartPr>
              <p14:xfrm>
                <a:off x="7867470" y="3891810"/>
                <a:ext cx="47520" cy="3960"/>
              </p14:xfrm>
            </p:contentPart>
          </mc:Choice>
          <mc:Fallback xmlns="">
            <p:pic>
              <p:nvPicPr>
                <p:cNvPr id="189" name="Ink 188">
                  <a:extLst>
                    <a:ext uri="{FF2B5EF4-FFF2-40B4-BE49-F238E27FC236}">
                      <a16:creationId xmlns:a16="http://schemas.microsoft.com/office/drawing/2014/main" id="{34C093DB-CE9B-2663-1067-5A9D0F99ED9C}"/>
                    </a:ext>
                  </a:extLst>
                </p:cNvPr>
                <p:cNvPicPr/>
                <p:nvPr/>
              </p:nvPicPr>
              <p:blipFill>
                <a:blip r:embed="rId134"/>
                <a:stretch>
                  <a:fillRect/>
                </a:stretch>
              </p:blipFill>
              <p:spPr>
                <a:xfrm>
                  <a:off x="7861350" y="3885690"/>
                  <a:ext cx="59760" cy="16200"/>
                </a:xfrm>
                <a:prstGeom prst="rect">
                  <a:avLst/>
                </a:prstGeom>
              </p:spPr>
            </p:pic>
          </mc:Fallback>
        </mc:AlternateContent>
        <mc:AlternateContent xmlns:mc="http://schemas.openxmlformats.org/markup-compatibility/2006" xmlns:p14="http://schemas.microsoft.com/office/powerpoint/2010/main">
          <mc:Choice Requires="p14">
            <p:contentPart p14:bwMode="auto" r:id="rId135">
              <p14:nvContentPartPr>
                <p14:cNvPr id="190" name="Ink 189">
                  <a:extLst>
                    <a:ext uri="{FF2B5EF4-FFF2-40B4-BE49-F238E27FC236}">
                      <a16:creationId xmlns:a16="http://schemas.microsoft.com/office/drawing/2014/main" id="{BE26C512-708F-F42C-EBAF-90B8B74BB9F2}"/>
                    </a:ext>
                  </a:extLst>
                </p14:cNvPr>
                <p14:cNvContentPartPr/>
                <p14:nvPr/>
              </p14:nvContentPartPr>
              <p14:xfrm>
                <a:off x="8012190" y="3849330"/>
                <a:ext cx="176040" cy="169200"/>
              </p14:xfrm>
            </p:contentPart>
          </mc:Choice>
          <mc:Fallback xmlns="">
            <p:pic>
              <p:nvPicPr>
                <p:cNvPr id="190" name="Ink 189">
                  <a:extLst>
                    <a:ext uri="{FF2B5EF4-FFF2-40B4-BE49-F238E27FC236}">
                      <a16:creationId xmlns:a16="http://schemas.microsoft.com/office/drawing/2014/main" id="{BE26C512-708F-F42C-EBAF-90B8B74BB9F2}"/>
                    </a:ext>
                  </a:extLst>
                </p:cNvPr>
                <p:cNvPicPr/>
                <p:nvPr/>
              </p:nvPicPr>
              <p:blipFill>
                <a:blip r:embed="rId136"/>
                <a:stretch>
                  <a:fillRect/>
                </a:stretch>
              </p:blipFill>
              <p:spPr>
                <a:xfrm>
                  <a:off x="8006070" y="3843210"/>
                  <a:ext cx="188280" cy="181440"/>
                </a:xfrm>
                <a:prstGeom prst="rect">
                  <a:avLst/>
                </a:prstGeom>
              </p:spPr>
            </p:pic>
          </mc:Fallback>
        </mc:AlternateContent>
        <mc:AlternateContent xmlns:mc="http://schemas.openxmlformats.org/markup-compatibility/2006" xmlns:p14="http://schemas.microsoft.com/office/powerpoint/2010/main">
          <mc:Choice Requires="p14">
            <p:contentPart p14:bwMode="auto" r:id="rId137">
              <p14:nvContentPartPr>
                <p14:cNvPr id="191" name="Ink 190">
                  <a:extLst>
                    <a:ext uri="{FF2B5EF4-FFF2-40B4-BE49-F238E27FC236}">
                      <a16:creationId xmlns:a16="http://schemas.microsoft.com/office/drawing/2014/main" id="{997592B3-0380-448F-C28B-17876620752B}"/>
                    </a:ext>
                  </a:extLst>
                </p14:cNvPr>
                <p14:cNvContentPartPr/>
                <p14:nvPr/>
              </p14:nvContentPartPr>
              <p14:xfrm>
                <a:off x="8248710" y="3836370"/>
                <a:ext cx="218160" cy="160920"/>
              </p14:xfrm>
            </p:contentPart>
          </mc:Choice>
          <mc:Fallback xmlns="">
            <p:pic>
              <p:nvPicPr>
                <p:cNvPr id="191" name="Ink 190">
                  <a:extLst>
                    <a:ext uri="{FF2B5EF4-FFF2-40B4-BE49-F238E27FC236}">
                      <a16:creationId xmlns:a16="http://schemas.microsoft.com/office/drawing/2014/main" id="{997592B3-0380-448F-C28B-17876620752B}"/>
                    </a:ext>
                  </a:extLst>
                </p:cNvPr>
                <p:cNvPicPr/>
                <p:nvPr/>
              </p:nvPicPr>
              <p:blipFill>
                <a:blip r:embed="rId138"/>
                <a:stretch>
                  <a:fillRect/>
                </a:stretch>
              </p:blipFill>
              <p:spPr>
                <a:xfrm>
                  <a:off x="8242590" y="3830250"/>
                  <a:ext cx="230400" cy="173160"/>
                </a:xfrm>
                <a:prstGeom prst="rect">
                  <a:avLst/>
                </a:prstGeom>
              </p:spPr>
            </p:pic>
          </mc:Fallback>
        </mc:AlternateContent>
        <mc:AlternateContent xmlns:mc="http://schemas.openxmlformats.org/markup-compatibility/2006" xmlns:p14="http://schemas.microsoft.com/office/powerpoint/2010/main">
          <mc:Choice Requires="p14">
            <p:contentPart p14:bwMode="auto" r:id="rId139">
              <p14:nvContentPartPr>
                <p14:cNvPr id="193" name="Ink 192">
                  <a:extLst>
                    <a:ext uri="{FF2B5EF4-FFF2-40B4-BE49-F238E27FC236}">
                      <a16:creationId xmlns:a16="http://schemas.microsoft.com/office/drawing/2014/main" id="{FE70AE6B-389E-2B40-1D3A-77560A54D247}"/>
                    </a:ext>
                  </a:extLst>
                </p14:cNvPr>
                <p14:cNvContentPartPr/>
                <p14:nvPr/>
              </p14:nvContentPartPr>
              <p14:xfrm>
                <a:off x="8715270" y="3695610"/>
                <a:ext cx="60120" cy="313200"/>
              </p14:xfrm>
            </p:contentPart>
          </mc:Choice>
          <mc:Fallback xmlns="">
            <p:pic>
              <p:nvPicPr>
                <p:cNvPr id="193" name="Ink 192">
                  <a:extLst>
                    <a:ext uri="{FF2B5EF4-FFF2-40B4-BE49-F238E27FC236}">
                      <a16:creationId xmlns:a16="http://schemas.microsoft.com/office/drawing/2014/main" id="{FE70AE6B-389E-2B40-1D3A-77560A54D247}"/>
                    </a:ext>
                  </a:extLst>
                </p:cNvPr>
                <p:cNvPicPr/>
                <p:nvPr/>
              </p:nvPicPr>
              <p:blipFill>
                <a:blip r:embed="rId140"/>
                <a:stretch>
                  <a:fillRect/>
                </a:stretch>
              </p:blipFill>
              <p:spPr>
                <a:xfrm>
                  <a:off x="8709150" y="3689490"/>
                  <a:ext cx="72360" cy="325440"/>
                </a:xfrm>
                <a:prstGeom prst="rect">
                  <a:avLst/>
                </a:prstGeom>
              </p:spPr>
            </p:pic>
          </mc:Fallback>
        </mc:AlternateContent>
        <mc:AlternateContent xmlns:mc="http://schemas.openxmlformats.org/markup-compatibility/2006" xmlns:p14="http://schemas.microsoft.com/office/powerpoint/2010/main">
          <mc:Choice Requires="p14">
            <p:contentPart p14:bwMode="auto" r:id="rId141">
              <p14:nvContentPartPr>
                <p14:cNvPr id="194" name="Ink 193">
                  <a:extLst>
                    <a:ext uri="{FF2B5EF4-FFF2-40B4-BE49-F238E27FC236}">
                      <a16:creationId xmlns:a16="http://schemas.microsoft.com/office/drawing/2014/main" id="{3C618D65-B779-39F4-7523-AB8DD5DE509D}"/>
                    </a:ext>
                  </a:extLst>
                </p14:cNvPr>
                <p14:cNvContentPartPr/>
                <p14:nvPr/>
              </p14:nvContentPartPr>
              <p14:xfrm>
                <a:off x="8875110" y="3883890"/>
                <a:ext cx="108720" cy="119160"/>
              </p14:xfrm>
            </p:contentPart>
          </mc:Choice>
          <mc:Fallback xmlns="">
            <p:pic>
              <p:nvPicPr>
                <p:cNvPr id="194" name="Ink 193">
                  <a:extLst>
                    <a:ext uri="{FF2B5EF4-FFF2-40B4-BE49-F238E27FC236}">
                      <a16:creationId xmlns:a16="http://schemas.microsoft.com/office/drawing/2014/main" id="{3C618D65-B779-39F4-7523-AB8DD5DE509D}"/>
                    </a:ext>
                  </a:extLst>
                </p:cNvPr>
                <p:cNvPicPr/>
                <p:nvPr/>
              </p:nvPicPr>
              <p:blipFill>
                <a:blip r:embed="rId142"/>
                <a:stretch>
                  <a:fillRect/>
                </a:stretch>
              </p:blipFill>
              <p:spPr>
                <a:xfrm>
                  <a:off x="8868990" y="3877770"/>
                  <a:ext cx="120960" cy="131400"/>
                </a:xfrm>
                <a:prstGeom prst="rect">
                  <a:avLst/>
                </a:prstGeom>
              </p:spPr>
            </p:pic>
          </mc:Fallback>
        </mc:AlternateContent>
        <mc:AlternateContent xmlns:mc="http://schemas.openxmlformats.org/markup-compatibility/2006" xmlns:p14="http://schemas.microsoft.com/office/powerpoint/2010/main">
          <mc:Choice Requires="p14">
            <p:contentPart p14:bwMode="auto" r:id="rId143">
              <p14:nvContentPartPr>
                <p14:cNvPr id="195" name="Ink 194">
                  <a:extLst>
                    <a:ext uri="{FF2B5EF4-FFF2-40B4-BE49-F238E27FC236}">
                      <a16:creationId xmlns:a16="http://schemas.microsoft.com/office/drawing/2014/main" id="{6C0FBA04-13CA-C524-3DBE-4674C56D7B65}"/>
                    </a:ext>
                  </a:extLst>
                </p14:cNvPr>
                <p14:cNvContentPartPr/>
                <p14:nvPr/>
              </p14:nvContentPartPr>
              <p14:xfrm>
                <a:off x="9047550" y="3847170"/>
                <a:ext cx="87840" cy="134280"/>
              </p14:xfrm>
            </p:contentPart>
          </mc:Choice>
          <mc:Fallback xmlns="">
            <p:pic>
              <p:nvPicPr>
                <p:cNvPr id="195" name="Ink 194">
                  <a:extLst>
                    <a:ext uri="{FF2B5EF4-FFF2-40B4-BE49-F238E27FC236}">
                      <a16:creationId xmlns:a16="http://schemas.microsoft.com/office/drawing/2014/main" id="{6C0FBA04-13CA-C524-3DBE-4674C56D7B65}"/>
                    </a:ext>
                  </a:extLst>
                </p:cNvPr>
                <p:cNvPicPr/>
                <p:nvPr/>
              </p:nvPicPr>
              <p:blipFill>
                <a:blip r:embed="rId144"/>
                <a:stretch>
                  <a:fillRect/>
                </a:stretch>
              </p:blipFill>
              <p:spPr>
                <a:xfrm>
                  <a:off x="9041430" y="3841050"/>
                  <a:ext cx="100080" cy="146520"/>
                </a:xfrm>
                <a:prstGeom prst="rect">
                  <a:avLst/>
                </a:prstGeom>
              </p:spPr>
            </p:pic>
          </mc:Fallback>
        </mc:AlternateContent>
        <mc:AlternateContent xmlns:mc="http://schemas.openxmlformats.org/markup-compatibility/2006" xmlns:p14="http://schemas.microsoft.com/office/powerpoint/2010/main">
          <mc:Choice Requires="p14">
            <p:contentPart p14:bwMode="auto" r:id="rId145">
              <p14:nvContentPartPr>
                <p14:cNvPr id="196" name="Ink 195">
                  <a:extLst>
                    <a:ext uri="{FF2B5EF4-FFF2-40B4-BE49-F238E27FC236}">
                      <a16:creationId xmlns:a16="http://schemas.microsoft.com/office/drawing/2014/main" id="{DB7D033C-6AC8-DF4C-9336-740A010601DC}"/>
                    </a:ext>
                  </a:extLst>
                </p14:cNvPr>
                <p14:cNvContentPartPr/>
                <p14:nvPr/>
              </p14:nvContentPartPr>
              <p14:xfrm>
                <a:off x="9067710" y="3924210"/>
                <a:ext cx="90720" cy="360"/>
              </p14:xfrm>
            </p:contentPart>
          </mc:Choice>
          <mc:Fallback xmlns="">
            <p:pic>
              <p:nvPicPr>
                <p:cNvPr id="196" name="Ink 195">
                  <a:extLst>
                    <a:ext uri="{FF2B5EF4-FFF2-40B4-BE49-F238E27FC236}">
                      <a16:creationId xmlns:a16="http://schemas.microsoft.com/office/drawing/2014/main" id="{DB7D033C-6AC8-DF4C-9336-740A010601DC}"/>
                    </a:ext>
                  </a:extLst>
                </p:cNvPr>
                <p:cNvPicPr/>
                <p:nvPr/>
              </p:nvPicPr>
              <p:blipFill>
                <a:blip r:embed="rId146"/>
                <a:stretch>
                  <a:fillRect/>
                </a:stretch>
              </p:blipFill>
              <p:spPr>
                <a:xfrm>
                  <a:off x="9061590" y="3918090"/>
                  <a:ext cx="1029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47">
              <p14:nvContentPartPr>
                <p14:cNvPr id="198" name="Ink 197">
                  <a:extLst>
                    <a:ext uri="{FF2B5EF4-FFF2-40B4-BE49-F238E27FC236}">
                      <a16:creationId xmlns:a16="http://schemas.microsoft.com/office/drawing/2014/main" id="{279DF3BE-8E51-3BE0-4B8E-B9263C22BF04}"/>
                    </a:ext>
                  </a:extLst>
                </p14:cNvPr>
                <p14:cNvContentPartPr/>
                <p14:nvPr/>
              </p14:nvContentPartPr>
              <p14:xfrm>
                <a:off x="9237990" y="3872010"/>
                <a:ext cx="136440" cy="128880"/>
              </p14:xfrm>
            </p:contentPart>
          </mc:Choice>
          <mc:Fallback xmlns="">
            <p:pic>
              <p:nvPicPr>
                <p:cNvPr id="198" name="Ink 197">
                  <a:extLst>
                    <a:ext uri="{FF2B5EF4-FFF2-40B4-BE49-F238E27FC236}">
                      <a16:creationId xmlns:a16="http://schemas.microsoft.com/office/drawing/2014/main" id="{279DF3BE-8E51-3BE0-4B8E-B9263C22BF04}"/>
                    </a:ext>
                  </a:extLst>
                </p:cNvPr>
                <p:cNvPicPr/>
                <p:nvPr/>
              </p:nvPicPr>
              <p:blipFill>
                <a:blip r:embed="rId148"/>
                <a:stretch>
                  <a:fillRect/>
                </a:stretch>
              </p:blipFill>
              <p:spPr>
                <a:xfrm>
                  <a:off x="9231870" y="3865890"/>
                  <a:ext cx="148680" cy="141120"/>
                </a:xfrm>
                <a:prstGeom prst="rect">
                  <a:avLst/>
                </a:prstGeom>
              </p:spPr>
            </p:pic>
          </mc:Fallback>
        </mc:AlternateContent>
        <mc:AlternateContent xmlns:mc="http://schemas.openxmlformats.org/markup-compatibility/2006" xmlns:p14="http://schemas.microsoft.com/office/powerpoint/2010/main">
          <mc:Choice Requires="p14">
            <p:contentPart p14:bwMode="auto" r:id="rId149">
              <p14:nvContentPartPr>
                <p14:cNvPr id="199" name="Ink 198">
                  <a:extLst>
                    <a:ext uri="{FF2B5EF4-FFF2-40B4-BE49-F238E27FC236}">
                      <a16:creationId xmlns:a16="http://schemas.microsoft.com/office/drawing/2014/main" id="{DCC435FC-8EF8-80FC-9EDF-FBC348A364AC}"/>
                    </a:ext>
                  </a:extLst>
                </p14:cNvPr>
                <p14:cNvContentPartPr/>
                <p14:nvPr/>
              </p14:nvContentPartPr>
              <p14:xfrm>
                <a:off x="9448590" y="3866970"/>
                <a:ext cx="103680" cy="125280"/>
              </p14:xfrm>
            </p:contentPart>
          </mc:Choice>
          <mc:Fallback xmlns="">
            <p:pic>
              <p:nvPicPr>
                <p:cNvPr id="199" name="Ink 198">
                  <a:extLst>
                    <a:ext uri="{FF2B5EF4-FFF2-40B4-BE49-F238E27FC236}">
                      <a16:creationId xmlns:a16="http://schemas.microsoft.com/office/drawing/2014/main" id="{DCC435FC-8EF8-80FC-9EDF-FBC348A364AC}"/>
                    </a:ext>
                  </a:extLst>
                </p:cNvPr>
                <p:cNvPicPr/>
                <p:nvPr/>
              </p:nvPicPr>
              <p:blipFill>
                <a:blip r:embed="rId150"/>
                <a:stretch>
                  <a:fillRect/>
                </a:stretch>
              </p:blipFill>
              <p:spPr>
                <a:xfrm>
                  <a:off x="9442470" y="3860850"/>
                  <a:ext cx="115920" cy="137520"/>
                </a:xfrm>
                <a:prstGeom prst="rect">
                  <a:avLst/>
                </a:prstGeom>
              </p:spPr>
            </p:pic>
          </mc:Fallback>
        </mc:AlternateContent>
        <mc:AlternateContent xmlns:mc="http://schemas.openxmlformats.org/markup-compatibility/2006" xmlns:p14="http://schemas.microsoft.com/office/powerpoint/2010/main">
          <mc:Choice Requires="p14">
            <p:contentPart p14:bwMode="auto" r:id="rId151">
              <p14:nvContentPartPr>
                <p14:cNvPr id="200" name="Ink 199">
                  <a:extLst>
                    <a:ext uri="{FF2B5EF4-FFF2-40B4-BE49-F238E27FC236}">
                      <a16:creationId xmlns:a16="http://schemas.microsoft.com/office/drawing/2014/main" id="{7E3DF455-0695-327B-3B15-04B5ECFA71F4}"/>
                    </a:ext>
                  </a:extLst>
                </p14:cNvPr>
                <p14:cNvContentPartPr/>
                <p14:nvPr/>
              </p14:nvContentPartPr>
              <p14:xfrm>
                <a:off x="9467670" y="3866970"/>
                <a:ext cx="54000" cy="360"/>
              </p14:xfrm>
            </p:contentPart>
          </mc:Choice>
          <mc:Fallback xmlns="">
            <p:pic>
              <p:nvPicPr>
                <p:cNvPr id="200" name="Ink 199">
                  <a:extLst>
                    <a:ext uri="{FF2B5EF4-FFF2-40B4-BE49-F238E27FC236}">
                      <a16:creationId xmlns:a16="http://schemas.microsoft.com/office/drawing/2014/main" id="{7E3DF455-0695-327B-3B15-04B5ECFA71F4}"/>
                    </a:ext>
                  </a:extLst>
                </p:cNvPr>
                <p:cNvPicPr/>
                <p:nvPr/>
              </p:nvPicPr>
              <p:blipFill>
                <a:blip r:embed="rId152"/>
                <a:stretch>
                  <a:fillRect/>
                </a:stretch>
              </p:blipFill>
              <p:spPr>
                <a:xfrm>
                  <a:off x="9461550" y="3860850"/>
                  <a:ext cx="6624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53">
              <p14:nvContentPartPr>
                <p14:cNvPr id="201" name="Ink 200">
                  <a:extLst>
                    <a:ext uri="{FF2B5EF4-FFF2-40B4-BE49-F238E27FC236}">
                      <a16:creationId xmlns:a16="http://schemas.microsoft.com/office/drawing/2014/main" id="{F341D460-EC4E-A60E-12AC-05A4C5C397A5}"/>
                    </a:ext>
                  </a:extLst>
                </p14:cNvPr>
                <p14:cNvContentPartPr/>
                <p14:nvPr/>
              </p14:nvContentPartPr>
              <p14:xfrm>
                <a:off x="9477390" y="3939330"/>
                <a:ext cx="61200" cy="4320"/>
              </p14:xfrm>
            </p:contentPart>
          </mc:Choice>
          <mc:Fallback xmlns="">
            <p:pic>
              <p:nvPicPr>
                <p:cNvPr id="201" name="Ink 200">
                  <a:extLst>
                    <a:ext uri="{FF2B5EF4-FFF2-40B4-BE49-F238E27FC236}">
                      <a16:creationId xmlns:a16="http://schemas.microsoft.com/office/drawing/2014/main" id="{F341D460-EC4E-A60E-12AC-05A4C5C397A5}"/>
                    </a:ext>
                  </a:extLst>
                </p:cNvPr>
                <p:cNvPicPr/>
                <p:nvPr/>
              </p:nvPicPr>
              <p:blipFill>
                <a:blip r:embed="rId154"/>
                <a:stretch>
                  <a:fillRect/>
                </a:stretch>
              </p:blipFill>
              <p:spPr>
                <a:xfrm>
                  <a:off x="9471270" y="3933210"/>
                  <a:ext cx="73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155">
              <p14:nvContentPartPr>
                <p14:cNvPr id="202" name="Ink 201">
                  <a:extLst>
                    <a:ext uri="{FF2B5EF4-FFF2-40B4-BE49-F238E27FC236}">
                      <a16:creationId xmlns:a16="http://schemas.microsoft.com/office/drawing/2014/main" id="{35A3DEC1-079D-FF6C-3C8F-D5C980DD3A49}"/>
                    </a:ext>
                  </a:extLst>
                </p14:cNvPr>
                <p14:cNvContentPartPr/>
                <p14:nvPr/>
              </p14:nvContentPartPr>
              <p14:xfrm>
                <a:off x="9588270" y="3752490"/>
                <a:ext cx="176760" cy="269280"/>
              </p14:xfrm>
            </p:contentPart>
          </mc:Choice>
          <mc:Fallback xmlns="">
            <p:pic>
              <p:nvPicPr>
                <p:cNvPr id="202" name="Ink 201">
                  <a:extLst>
                    <a:ext uri="{FF2B5EF4-FFF2-40B4-BE49-F238E27FC236}">
                      <a16:creationId xmlns:a16="http://schemas.microsoft.com/office/drawing/2014/main" id="{35A3DEC1-079D-FF6C-3C8F-D5C980DD3A49}"/>
                    </a:ext>
                  </a:extLst>
                </p:cNvPr>
                <p:cNvPicPr/>
                <p:nvPr/>
              </p:nvPicPr>
              <p:blipFill>
                <a:blip r:embed="rId156"/>
                <a:stretch>
                  <a:fillRect/>
                </a:stretch>
              </p:blipFill>
              <p:spPr>
                <a:xfrm>
                  <a:off x="9582150" y="3746370"/>
                  <a:ext cx="189000" cy="281520"/>
                </a:xfrm>
                <a:prstGeom prst="rect">
                  <a:avLst/>
                </a:prstGeom>
              </p:spPr>
            </p:pic>
          </mc:Fallback>
        </mc:AlternateContent>
        <mc:AlternateContent xmlns:mc="http://schemas.openxmlformats.org/markup-compatibility/2006" xmlns:p14="http://schemas.microsoft.com/office/powerpoint/2010/main">
          <mc:Choice Requires="p14">
            <p:contentPart p14:bwMode="auto" r:id="rId157">
              <p14:nvContentPartPr>
                <p14:cNvPr id="204" name="Ink 203">
                  <a:extLst>
                    <a:ext uri="{FF2B5EF4-FFF2-40B4-BE49-F238E27FC236}">
                      <a16:creationId xmlns:a16="http://schemas.microsoft.com/office/drawing/2014/main" id="{04143AAE-9655-3214-4889-73E57A7C23AE}"/>
                    </a:ext>
                  </a:extLst>
                </p14:cNvPr>
                <p14:cNvContentPartPr/>
                <p14:nvPr/>
              </p14:nvContentPartPr>
              <p14:xfrm>
                <a:off x="9982110" y="3714690"/>
                <a:ext cx="242640" cy="255960"/>
              </p14:xfrm>
            </p:contentPart>
          </mc:Choice>
          <mc:Fallback xmlns="">
            <p:pic>
              <p:nvPicPr>
                <p:cNvPr id="204" name="Ink 203">
                  <a:extLst>
                    <a:ext uri="{FF2B5EF4-FFF2-40B4-BE49-F238E27FC236}">
                      <a16:creationId xmlns:a16="http://schemas.microsoft.com/office/drawing/2014/main" id="{04143AAE-9655-3214-4889-73E57A7C23AE}"/>
                    </a:ext>
                  </a:extLst>
                </p:cNvPr>
                <p:cNvPicPr/>
                <p:nvPr/>
              </p:nvPicPr>
              <p:blipFill>
                <a:blip r:embed="rId158"/>
                <a:stretch>
                  <a:fillRect/>
                </a:stretch>
              </p:blipFill>
              <p:spPr>
                <a:xfrm>
                  <a:off x="9975990" y="3708570"/>
                  <a:ext cx="254880" cy="268200"/>
                </a:xfrm>
                <a:prstGeom prst="rect">
                  <a:avLst/>
                </a:prstGeom>
              </p:spPr>
            </p:pic>
          </mc:Fallback>
        </mc:AlternateContent>
        <mc:AlternateContent xmlns:mc="http://schemas.openxmlformats.org/markup-compatibility/2006" xmlns:p14="http://schemas.microsoft.com/office/powerpoint/2010/main">
          <mc:Choice Requires="p14">
            <p:contentPart p14:bwMode="auto" r:id="rId159">
              <p14:nvContentPartPr>
                <p14:cNvPr id="205" name="Ink 204">
                  <a:extLst>
                    <a:ext uri="{FF2B5EF4-FFF2-40B4-BE49-F238E27FC236}">
                      <a16:creationId xmlns:a16="http://schemas.microsoft.com/office/drawing/2014/main" id="{C7D534DA-F0DB-269A-A333-048E163E9DFF}"/>
                    </a:ext>
                  </a:extLst>
                </p14:cNvPr>
                <p14:cNvContentPartPr/>
                <p14:nvPr/>
              </p14:nvContentPartPr>
              <p14:xfrm>
                <a:off x="10304310" y="3801810"/>
                <a:ext cx="133920" cy="172800"/>
              </p14:xfrm>
            </p:contentPart>
          </mc:Choice>
          <mc:Fallback xmlns="">
            <p:pic>
              <p:nvPicPr>
                <p:cNvPr id="205" name="Ink 204">
                  <a:extLst>
                    <a:ext uri="{FF2B5EF4-FFF2-40B4-BE49-F238E27FC236}">
                      <a16:creationId xmlns:a16="http://schemas.microsoft.com/office/drawing/2014/main" id="{C7D534DA-F0DB-269A-A333-048E163E9DFF}"/>
                    </a:ext>
                  </a:extLst>
                </p:cNvPr>
                <p:cNvPicPr/>
                <p:nvPr/>
              </p:nvPicPr>
              <p:blipFill>
                <a:blip r:embed="rId160"/>
                <a:stretch>
                  <a:fillRect/>
                </a:stretch>
              </p:blipFill>
              <p:spPr>
                <a:xfrm>
                  <a:off x="10298190" y="3795690"/>
                  <a:ext cx="146160" cy="185040"/>
                </a:xfrm>
                <a:prstGeom prst="rect">
                  <a:avLst/>
                </a:prstGeom>
              </p:spPr>
            </p:pic>
          </mc:Fallback>
        </mc:AlternateContent>
        <mc:AlternateContent xmlns:mc="http://schemas.openxmlformats.org/markup-compatibility/2006" xmlns:p14="http://schemas.microsoft.com/office/powerpoint/2010/main">
          <mc:Choice Requires="p14">
            <p:contentPart p14:bwMode="auto" r:id="rId161">
              <p14:nvContentPartPr>
                <p14:cNvPr id="207" name="Ink 206">
                  <a:extLst>
                    <a:ext uri="{FF2B5EF4-FFF2-40B4-BE49-F238E27FC236}">
                      <a16:creationId xmlns:a16="http://schemas.microsoft.com/office/drawing/2014/main" id="{6CF23FFA-4575-D43B-8363-2EC709F78DB9}"/>
                    </a:ext>
                  </a:extLst>
                </p14:cNvPr>
                <p14:cNvContentPartPr/>
                <p14:nvPr/>
              </p14:nvContentPartPr>
              <p14:xfrm>
                <a:off x="10505910" y="3828810"/>
                <a:ext cx="115200" cy="133560"/>
              </p14:xfrm>
            </p:contentPart>
          </mc:Choice>
          <mc:Fallback xmlns="">
            <p:pic>
              <p:nvPicPr>
                <p:cNvPr id="207" name="Ink 206">
                  <a:extLst>
                    <a:ext uri="{FF2B5EF4-FFF2-40B4-BE49-F238E27FC236}">
                      <a16:creationId xmlns:a16="http://schemas.microsoft.com/office/drawing/2014/main" id="{6CF23FFA-4575-D43B-8363-2EC709F78DB9}"/>
                    </a:ext>
                  </a:extLst>
                </p:cNvPr>
                <p:cNvPicPr/>
                <p:nvPr/>
              </p:nvPicPr>
              <p:blipFill>
                <a:blip r:embed="rId162"/>
                <a:stretch>
                  <a:fillRect/>
                </a:stretch>
              </p:blipFill>
              <p:spPr>
                <a:xfrm>
                  <a:off x="10499790" y="3822690"/>
                  <a:ext cx="127440" cy="145800"/>
                </a:xfrm>
                <a:prstGeom prst="rect">
                  <a:avLst/>
                </a:prstGeom>
              </p:spPr>
            </p:pic>
          </mc:Fallback>
        </mc:AlternateContent>
        <mc:AlternateContent xmlns:mc="http://schemas.openxmlformats.org/markup-compatibility/2006" xmlns:p14="http://schemas.microsoft.com/office/powerpoint/2010/main">
          <mc:Choice Requires="p14">
            <p:contentPart p14:bwMode="auto" r:id="rId163">
              <p14:nvContentPartPr>
                <p14:cNvPr id="208" name="Ink 207">
                  <a:extLst>
                    <a:ext uri="{FF2B5EF4-FFF2-40B4-BE49-F238E27FC236}">
                      <a16:creationId xmlns:a16="http://schemas.microsoft.com/office/drawing/2014/main" id="{E1E86444-9C1B-6283-71EA-2D62DF5F3235}"/>
                    </a:ext>
                  </a:extLst>
                </p14:cNvPr>
                <p14:cNvContentPartPr/>
                <p14:nvPr/>
              </p14:nvContentPartPr>
              <p14:xfrm>
                <a:off x="10695990" y="3802170"/>
                <a:ext cx="87840" cy="176760"/>
              </p14:xfrm>
            </p:contentPart>
          </mc:Choice>
          <mc:Fallback xmlns="">
            <p:pic>
              <p:nvPicPr>
                <p:cNvPr id="208" name="Ink 207">
                  <a:extLst>
                    <a:ext uri="{FF2B5EF4-FFF2-40B4-BE49-F238E27FC236}">
                      <a16:creationId xmlns:a16="http://schemas.microsoft.com/office/drawing/2014/main" id="{E1E86444-9C1B-6283-71EA-2D62DF5F3235}"/>
                    </a:ext>
                  </a:extLst>
                </p:cNvPr>
                <p:cNvPicPr/>
                <p:nvPr/>
              </p:nvPicPr>
              <p:blipFill>
                <a:blip r:embed="rId164"/>
                <a:stretch>
                  <a:fillRect/>
                </a:stretch>
              </p:blipFill>
              <p:spPr>
                <a:xfrm>
                  <a:off x="10689870" y="3796050"/>
                  <a:ext cx="100080" cy="189000"/>
                </a:xfrm>
                <a:prstGeom prst="rect">
                  <a:avLst/>
                </a:prstGeom>
              </p:spPr>
            </p:pic>
          </mc:Fallback>
        </mc:AlternateContent>
        <mc:AlternateContent xmlns:mc="http://schemas.openxmlformats.org/markup-compatibility/2006" xmlns:p14="http://schemas.microsoft.com/office/powerpoint/2010/main">
          <mc:Choice Requires="p14">
            <p:contentPart p14:bwMode="auto" r:id="rId165">
              <p14:nvContentPartPr>
                <p14:cNvPr id="209" name="Ink 208">
                  <a:extLst>
                    <a:ext uri="{FF2B5EF4-FFF2-40B4-BE49-F238E27FC236}">
                      <a16:creationId xmlns:a16="http://schemas.microsoft.com/office/drawing/2014/main" id="{C63E0C53-9D7F-0222-FFDE-B9B2532E883A}"/>
                    </a:ext>
                  </a:extLst>
                </p14:cNvPr>
                <p14:cNvContentPartPr/>
                <p14:nvPr/>
              </p14:nvContentPartPr>
              <p14:xfrm>
                <a:off x="10802910" y="3808290"/>
                <a:ext cx="202320" cy="233640"/>
              </p14:xfrm>
            </p:contentPart>
          </mc:Choice>
          <mc:Fallback xmlns="">
            <p:pic>
              <p:nvPicPr>
                <p:cNvPr id="209" name="Ink 208">
                  <a:extLst>
                    <a:ext uri="{FF2B5EF4-FFF2-40B4-BE49-F238E27FC236}">
                      <a16:creationId xmlns:a16="http://schemas.microsoft.com/office/drawing/2014/main" id="{C63E0C53-9D7F-0222-FFDE-B9B2532E883A}"/>
                    </a:ext>
                  </a:extLst>
                </p:cNvPr>
                <p:cNvPicPr/>
                <p:nvPr/>
              </p:nvPicPr>
              <p:blipFill>
                <a:blip r:embed="rId166"/>
                <a:stretch>
                  <a:fillRect/>
                </a:stretch>
              </p:blipFill>
              <p:spPr>
                <a:xfrm>
                  <a:off x="10796790" y="3802170"/>
                  <a:ext cx="214560" cy="245880"/>
                </a:xfrm>
                <a:prstGeom prst="rect">
                  <a:avLst/>
                </a:prstGeom>
              </p:spPr>
            </p:pic>
          </mc:Fallback>
        </mc:AlternateContent>
        <mc:AlternateContent xmlns:mc="http://schemas.openxmlformats.org/markup-compatibility/2006" xmlns:p14="http://schemas.microsoft.com/office/powerpoint/2010/main">
          <mc:Choice Requires="p14">
            <p:contentPart p14:bwMode="auto" r:id="rId167">
              <p14:nvContentPartPr>
                <p14:cNvPr id="211" name="Ink 210">
                  <a:extLst>
                    <a:ext uri="{FF2B5EF4-FFF2-40B4-BE49-F238E27FC236}">
                      <a16:creationId xmlns:a16="http://schemas.microsoft.com/office/drawing/2014/main" id="{9017FDFD-A5A2-7793-17FD-C23A4ECA0F21}"/>
                    </a:ext>
                  </a:extLst>
                </p14:cNvPr>
                <p14:cNvContentPartPr/>
                <p14:nvPr/>
              </p14:nvContentPartPr>
              <p14:xfrm>
                <a:off x="8791590" y="4152810"/>
                <a:ext cx="25200" cy="231840"/>
              </p14:xfrm>
            </p:contentPart>
          </mc:Choice>
          <mc:Fallback xmlns="">
            <p:pic>
              <p:nvPicPr>
                <p:cNvPr id="211" name="Ink 210">
                  <a:extLst>
                    <a:ext uri="{FF2B5EF4-FFF2-40B4-BE49-F238E27FC236}">
                      <a16:creationId xmlns:a16="http://schemas.microsoft.com/office/drawing/2014/main" id="{9017FDFD-A5A2-7793-17FD-C23A4ECA0F21}"/>
                    </a:ext>
                  </a:extLst>
                </p:cNvPr>
                <p:cNvPicPr/>
                <p:nvPr/>
              </p:nvPicPr>
              <p:blipFill>
                <a:blip r:embed="rId168"/>
                <a:stretch>
                  <a:fillRect/>
                </a:stretch>
              </p:blipFill>
              <p:spPr>
                <a:xfrm>
                  <a:off x="8785470" y="4146690"/>
                  <a:ext cx="37440" cy="244080"/>
                </a:xfrm>
                <a:prstGeom prst="rect">
                  <a:avLst/>
                </a:prstGeom>
              </p:spPr>
            </p:pic>
          </mc:Fallback>
        </mc:AlternateContent>
        <mc:AlternateContent xmlns:mc="http://schemas.openxmlformats.org/markup-compatibility/2006" xmlns:p14="http://schemas.microsoft.com/office/powerpoint/2010/main">
          <mc:Choice Requires="p14">
            <p:contentPart p14:bwMode="auto" r:id="rId169">
              <p14:nvContentPartPr>
                <p14:cNvPr id="212" name="Ink 211">
                  <a:extLst>
                    <a:ext uri="{FF2B5EF4-FFF2-40B4-BE49-F238E27FC236}">
                      <a16:creationId xmlns:a16="http://schemas.microsoft.com/office/drawing/2014/main" id="{21D5B957-7306-A29D-9975-1919ACDA8C0B}"/>
                    </a:ext>
                  </a:extLst>
                </p14:cNvPr>
                <p14:cNvContentPartPr/>
                <p14:nvPr/>
              </p14:nvContentPartPr>
              <p14:xfrm>
                <a:off x="8705910" y="4171890"/>
                <a:ext cx="378720" cy="360"/>
              </p14:xfrm>
            </p:contentPart>
          </mc:Choice>
          <mc:Fallback xmlns="">
            <p:pic>
              <p:nvPicPr>
                <p:cNvPr id="212" name="Ink 211">
                  <a:extLst>
                    <a:ext uri="{FF2B5EF4-FFF2-40B4-BE49-F238E27FC236}">
                      <a16:creationId xmlns:a16="http://schemas.microsoft.com/office/drawing/2014/main" id="{21D5B957-7306-A29D-9975-1919ACDA8C0B}"/>
                    </a:ext>
                  </a:extLst>
                </p:cNvPr>
                <p:cNvPicPr/>
                <p:nvPr/>
              </p:nvPicPr>
              <p:blipFill>
                <a:blip r:embed="rId170"/>
                <a:stretch>
                  <a:fillRect/>
                </a:stretch>
              </p:blipFill>
              <p:spPr>
                <a:xfrm>
                  <a:off x="8699790" y="4165770"/>
                  <a:ext cx="3909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71">
              <p14:nvContentPartPr>
                <p14:cNvPr id="214" name="Ink 213">
                  <a:extLst>
                    <a:ext uri="{FF2B5EF4-FFF2-40B4-BE49-F238E27FC236}">
                      <a16:creationId xmlns:a16="http://schemas.microsoft.com/office/drawing/2014/main" id="{B270A3E3-25F3-2D32-E140-B13EE2B10A05}"/>
                    </a:ext>
                  </a:extLst>
                </p14:cNvPr>
                <p14:cNvContentPartPr/>
                <p14:nvPr/>
              </p14:nvContentPartPr>
              <p14:xfrm>
                <a:off x="8980950" y="4186290"/>
                <a:ext cx="141120" cy="178920"/>
              </p14:xfrm>
            </p:contentPart>
          </mc:Choice>
          <mc:Fallback xmlns="">
            <p:pic>
              <p:nvPicPr>
                <p:cNvPr id="214" name="Ink 213">
                  <a:extLst>
                    <a:ext uri="{FF2B5EF4-FFF2-40B4-BE49-F238E27FC236}">
                      <a16:creationId xmlns:a16="http://schemas.microsoft.com/office/drawing/2014/main" id="{B270A3E3-25F3-2D32-E140-B13EE2B10A05}"/>
                    </a:ext>
                  </a:extLst>
                </p:cNvPr>
                <p:cNvPicPr/>
                <p:nvPr/>
              </p:nvPicPr>
              <p:blipFill>
                <a:blip r:embed="rId172"/>
                <a:stretch>
                  <a:fillRect/>
                </a:stretch>
              </p:blipFill>
              <p:spPr>
                <a:xfrm>
                  <a:off x="8974830" y="4180170"/>
                  <a:ext cx="153360" cy="191160"/>
                </a:xfrm>
                <a:prstGeom prst="rect">
                  <a:avLst/>
                </a:prstGeom>
              </p:spPr>
            </p:pic>
          </mc:Fallback>
        </mc:AlternateContent>
        <mc:AlternateContent xmlns:mc="http://schemas.openxmlformats.org/markup-compatibility/2006" xmlns:p14="http://schemas.microsoft.com/office/powerpoint/2010/main">
          <mc:Choice Requires="p14">
            <p:contentPart p14:bwMode="auto" r:id="rId173">
              <p14:nvContentPartPr>
                <p14:cNvPr id="215" name="Ink 214">
                  <a:extLst>
                    <a:ext uri="{FF2B5EF4-FFF2-40B4-BE49-F238E27FC236}">
                      <a16:creationId xmlns:a16="http://schemas.microsoft.com/office/drawing/2014/main" id="{153F1BE4-DC85-292F-1873-DE5E976E2870}"/>
                    </a:ext>
                  </a:extLst>
                </p14:cNvPr>
                <p14:cNvContentPartPr/>
                <p14:nvPr/>
              </p14:nvContentPartPr>
              <p14:xfrm>
                <a:off x="9162030" y="4215090"/>
                <a:ext cx="88920" cy="147600"/>
              </p14:xfrm>
            </p:contentPart>
          </mc:Choice>
          <mc:Fallback xmlns="">
            <p:pic>
              <p:nvPicPr>
                <p:cNvPr id="215" name="Ink 214">
                  <a:extLst>
                    <a:ext uri="{FF2B5EF4-FFF2-40B4-BE49-F238E27FC236}">
                      <a16:creationId xmlns:a16="http://schemas.microsoft.com/office/drawing/2014/main" id="{153F1BE4-DC85-292F-1873-DE5E976E2870}"/>
                    </a:ext>
                  </a:extLst>
                </p:cNvPr>
                <p:cNvPicPr/>
                <p:nvPr/>
              </p:nvPicPr>
              <p:blipFill>
                <a:blip r:embed="rId174"/>
                <a:stretch>
                  <a:fillRect/>
                </a:stretch>
              </p:blipFill>
              <p:spPr>
                <a:xfrm>
                  <a:off x="9155910" y="4208970"/>
                  <a:ext cx="101160" cy="159840"/>
                </a:xfrm>
                <a:prstGeom prst="rect">
                  <a:avLst/>
                </a:prstGeom>
              </p:spPr>
            </p:pic>
          </mc:Fallback>
        </mc:AlternateContent>
        <mc:AlternateContent xmlns:mc="http://schemas.openxmlformats.org/markup-compatibility/2006" xmlns:p14="http://schemas.microsoft.com/office/powerpoint/2010/main">
          <mc:Choice Requires="p14">
            <p:contentPart p14:bwMode="auto" r:id="rId175">
              <p14:nvContentPartPr>
                <p14:cNvPr id="216" name="Ink 215">
                  <a:extLst>
                    <a:ext uri="{FF2B5EF4-FFF2-40B4-BE49-F238E27FC236}">
                      <a16:creationId xmlns:a16="http://schemas.microsoft.com/office/drawing/2014/main" id="{FA73210E-5667-C738-7DEC-B5639AF15B76}"/>
                    </a:ext>
                  </a:extLst>
                </p14:cNvPr>
                <p14:cNvContentPartPr/>
                <p14:nvPr/>
              </p14:nvContentPartPr>
              <p14:xfrm>
                <a:off x="9163110" y="4295370"/>
                <a:ext cx="82440" cy="360"/>
              </p14:xfrm>
            </p:contentPart>
          </mc:Choice>
          <mc:Fallback xmlns="">
            <p:pic>
              <p:nvPicPr>
                <p:cNvPr id="216" name="Ink 215">
                  <a:extLst>
                    <a:ext uri="{FF2B5EF4-FFF2-40B4-BE49-F238E27FC236}">
                      <a16:creationId xmlns:a16="http://schemas.microsoft.com/office/drawing/2014/main" id="{FA73210E-5667-C738-7DEC-B5639AF15B76}"/>
                    </a:ext>
                  </a:extLst>
                </p:cNvPr>
                <p:cNvPicPr/>
                <p:nvPr/>
              </p:nvPicPr>
              <p:blipFill>
                <a:blip r:embed="rId176"/>
                <a:stretch>
                  <a:fillRect/>
                </a:stretch>
              </p:blipFill>
              <p:spPr>
                <a:xfrm>
                  <a:off x="9156990" y="4289250"/>
                  <a:ext cx="9468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177">
              <p14:nvContentPartPr>
                <p14:cNvPr id="217" name="Ink 216">
                  <a:extLst>
                    <a:ext uri="{FF2B5EF4-FFF2-40B4-BE49-F238E27FC236}">
                      <a16:creationId xmlns:a16="http://schemas.microsoft.com/office/drawing/2014/main" id="{475C8F16-4448-B787-8838-54C8A8903AA5}"/>
                    </a:ext>
                  </a:extLst>
                </p14:cNvPr>
                <p14:cNvContentPartPr/>
                <p14:nvPr/>
              </p14:nvContentPartPr>
              <p14:xfrm>
                <a:off x="9343830" y="4219410"/>
                <a:ext cx="20160" cy="162360"/>
              </p14:xfrm>
            </p:contentPart>
          </mc:Choice>
          <mc:Fallback xmlns="">
            <p:pic>
              <p:nvPicPr>
                <p:cNvPr id="217" name="Ink 216">
                  <a:extLst>
                    <a:ext uri="{FF2B5EF4-FFF2-40B4-BE49-F238E27FC236}">
                      <a16:creationId xmlns:a16="http://schemas.microsoft.com/office/drawing/2014/main" id="{475C8F16-4448-B787-8838-54C8A8903AA5}"/>
                    </a:ext>
                  </a:extLst>
                </p:cNvPr>
                <p:cNvPicPr/>
                <p:nvPr/>
              </p:nvPicPr>
              <p:blipFill>
                <a:blip r:embed="rId178"/>
                <a:stretch>
                  <a:fillRect/>
                </a:stretch>
              </p:blipFill>
              <p:spPr>
                <a:xfrm>
                  <a:off x="9337710" y="4213290"/>
                  <a:ext cx="32400" cy="174600"/>
                </a:xfrm>
                <a:prstGeom prst="rect">
                  <a:avLst/>
                </a:prstGeom>
              </p:spPr>
            </p:pic>
          </mc:Fallback>
        </mc:AlternateContent>
        <mc:AlternateContent xmlns:mc="http://schemas.openxmlformats.org/markup-compatibility/2006" xmlns:p14="http://schemas.microsoft.com/office/powerpoint/2010/main">
          <mc:Choice Requires="p14">
            <p:contentPart p14:bwMode="auto" r:id="rId179">
              <p14:nvContentPartPr>
                <p14:cNvPr id="219" name="Ink 218">
                  <a:extLst>
                    <a:ext uri="{FF2B5EF4-FFF2-40B4-BE49-F238E27FC236}">
                      <a16:creationId xmlns:a16="http://schemas.microsoft.com/office/drawing/2014/main" id="{F9F68156-2798-D0FC-F005-5D5CB3CF9134}"/>
                    </a:ext>
                  </a:extLst>
                </p14:cNvPr>
                <p14:cNvContentPartPr/>
                <p14:nvPr/>
              </p14:nvContentPartPr>
              <p14:xfrm>
                <a:off x="9324750" y="4143090"/>
                <a:ext cx="28800" cy="60120"/>
              </p14:xfrm>
            </p:contentPart>
          </mc:Choice>
          <mc:Fallback xmlns="">
            <p:pic>
              <p:nvPicPr>
                <p:cNvPr id="219" name="Ink 218">
                  <a:extLst>
                    <a:ext uri="{FF2B5EF4-FFF2-40B4-BE49-F238E27FC236}">
                      <a16:creationId xmlns:a16="http://schemas.microsoft.com/office/drawing/2014/main" id="{F9F68156-2798-D0FC-F005-5D5CB3CF9134}"/>
                    </a:ext>
                  </a:extLst>
                </p:cNvPr>
                <p:cNvPicPr/>
                <p:nvPr/>
              </p:nvPicPr>
              <p:blipFill>
                <a:blip r:embed="rId180"/>
                <a:stretch>
                  <a:fillRect/>
                </a:stretch>
              </p:blipFill>
              <p:spPr>
                <a:xfrm>
                  <a:off x="9318630" y="4136970"/>
                  <a:ext cx="41040" cy="72360"/>
                </a:xfrm>
                <a:prstGeom prst="rect">
                  <a:avLst/>
                </a:prstGeom>
              </p:spPr>
            </p:pic>
          </mc:Fallback>
        </mc:AlternateContent>
        <mc:AlternateContent xmlns:mc="http://schemas.openxmlformats.org/markup-compatibility/2006" xmlns:p14="http://schemas.microsoft.com/office/powerpoint/2010/main">
          <mc:Choice Requires="p14">
            <p:contentPart p14:bwMode="auto" r:id="rId181">
              <p14:nvContentPartPr>
                <p14:cNvPr id="221" name="Ink 220">
                  <a:extLst>
                    <a:ext uri="{FF2B5EF4-FFF2-40B4-BE49-F238E27FC236}">
                      <a16:creationId xmlns:a16="http://schemas.microsoft.com/office/drawing/2014/main" id="{04DD099F-E3B1-2E2D-EECA-8DDDA2C055F5}"/>
                    </a:ext>
                  </a:extLst>
                </p14:cNvPr>
                <p14:cNvContentPartPr/>
                <p14:nvPr/>
              </p14:nvContentPartPr>
              <p14:xfrm>
                <a:off x="9495750" y="4192050"/>
                <a:ext cx="173160" cy="163080"/>
              </p14:xfrm>
            </p:contentPart>
          </mc:Choice>
          <mc:Fallback xmlns="">
            <p:pic>
              <p:nvPicPr>
                <p:cNvPr id="221" name="Ink 220">
                  <a:extLst>
                    <a:ext uri="{FF2B5EF4-FFF2-40B4-BE49-F238E27FC236}">
                      <a16:creationId xmlns:a16="http://schemas.microsoft.com/office/drawing/2014/main" id="{04DD099F-E3B1-2E2D-EECA-8DDDA2C055F5}"/>
                    </a:ext>
                  </a:extLst>
                </p:cNvPr>
                <p:cNvPicPr/>
                <p:nvPr/>
              </p:nvPicPr>
              <p:blipFill>
                <a:blip r:embed="rId182"/>
                <a:stretch>
                  <a:fillRect/>
                </a:stretch>
              </p:blipFill>
              <p:spPr>
                <a:xfrm>
                  <a:off x="9489630" y="4185930"/>
                  <a:ext cx="185400" cy="175320"/>
                </a:xfrm>
                <a:prstGeom prst="rect">
                  <a:avLst/>
                </a:prstGeom>
              </p:spPr>
            </p:pic>
          </mc:Fallback>
        </mc:AlternateContent>
        <mc:AlternateContent xmlns:mc="http://schemas.openxmlformats.org/markup-compatibility/2006" xmlns:p14="http://schemas.microsoft.com/office/powerpoint/2010/main">
          <mc:Choice Requires="p14">
            <p:contentPart p14:bwMode="auto" r:id="rId183">
              <p14:nvContentPartPr>
                <p14:cNvPr id="222" name="Ink 221">
                  <a:extLst>
                    <a:ext uri="{FF2B5EF4-FFF2-40B4-BE49-F238E27FC236}">
                      <a16:creationId xmlns:a16="http://schemas.microsoft.com/office/drawing/2014/main" id="{294951FF-8561-1BDD-9EF2-DBACBAA066B2}"/>
                    </a:ext>
                  </a:extLst>
                </p14:cNvPr>
                <p14:cNvContentPartPr/>
                <p14:nvPr/>
              </p14:nvContentPartPr>
              <p14:xfrm>
                <a:off x="9762870" y="4200330"/>
                <a:ext cx="36720" cy="163440"/>
              </p14:xfrm>
            </p:contentPart>
          </mc:Choice>
          <mc:Fallback xmlns="">
            <p:pic>
              <p:nvPicPr>
                <p:cNvPr id="222" name="Ink 221">
                  <a:extLst>
                    <a:ext uri="{FF2B5EF4-FFF2-40B4-BE49-F238E27FC236}">
                      <a16:creationId xmlns:a16="http://schemas.microsoft.com/office/drawing/2014/main" id="{294951FF-8561-1BDD-9EF2-DBACBAA066B2}"/>
                    </a:ext>
                  </a:extLst>
                </p:cNvPr>
                <p:cNvPicPr/>
                <p:nvPr/>
              </p:nvPicPr>
              <p:blipFill>
                <a:blip r:embed="rId184"/>
                <a:stretch>
                  <a:fillRect/>
                </a:stretch>
              </p:blipFill>
              <p:spPr>
                <a:xfrm>
                  <a:off x="9756750" y="4194210"/>
                  <a:ext cx="48960" cy="175680"/>
                </a:xfrm>
                <a:prstGeom prst="rect">
                  <a:avLst/>
                </a:prstGeom>
              </p:spPr>
            </p:pic>
          </mc:Fallback>
        </mc:AlternateContent>
        <mc:AlternateContent xmlns:mc="http://schemas.openxmlformats.org/markup-compatibility/2006" xmlns:p14="http://schemas.microsoft.com/office/powerpoint/2010/main">
          <mc:Choice Requires="p14">
            <p:contentPart p14:bwMode="auto" r:id="rId185">
              <p14:nvContentPartPr>
                <p14:cNvPr id="223" name="Ink 222">
                  <a:extLst>
                    <a:ext uri="{FF2B5EF4-FFF2-40B4-BE49-F238E27FC236}">
                      <a16:creationId xmlns:a16="http://schemas.microsoft.com/office/drawing/2014/main" id="{DCA2693B-6D6A-8B24-0C58-7C76FDB8B518}"/>
                    </a:ext>
                  </a:extLst>
                </p14:cNvPr>
                <p14:cNvContentPartPr/>
                <p14:nvPr/>
              </p14:nvContentPartPr>
              <p14:xfrm>
                <a:off x="9741990" y="4124010"/>
                <a:ext cx="40320" cy="36360"/>
              </p14:xfrm>
            </p:contentPart>
          </mc:Choice>
          <mc:Fallback xmlns="">
            <p:pic>
              <p:nvPicPr>
                <p:cNvPr id="223" name="Ink 222">
                  <a:extLst>
                    <a:ext uri="{FF2B5EF4-FFF2-40B4-BE49-F238E27FC236}">
                      <a16:creationId xmlns:a16="http://schemas.microsoft.com/office/drawing/2014/main" id="{DCA2693B-6D6A-8B24-0C58-7C76FDB8B518}"/>
                    </a:ext>
                  </a:extLst>
                </p:cNvPr>
                <p:cNvPicPr/>
                <p:nvPr/>
              </p:nvPicPr>
              <p:blipFill>
                <a:blip r:embed="rId186"/>
                <a:stretch>
                  <a:fillRect/>
                </a:stretch>
              </p:blipFill>
              <p:spPr>
                <a:xfrm>
                  <a:off x="9735870" y="4117890"/>
                  <a:ext cx="52560" cy="48600"/>
                </a:xfrm>
                <a:prstGeom prst="rect">
                  <a:avLst/>
                </a:prstGeom>
              </p:spPr>
            </p:pic>
          </mc:Fallback>
        </mc:AlternateContent>
        <mc:AlternateContent xmlns:mc="http://schemas.openxmlformats.org/markup-compatibility/2006" xmlns:p14="http://schemas.microsoft.com/office/powerpoint/2010/main">
          <mc:Choice Requires="p14">
            <p:contentPart p14:bwMode="auto" r:id="rId187">
              <p14:nvContentPartPr>
                <p14:cNvPr id="225" name="Ink 224">
                  <a:extLst>
                    <a:ext uri="{FF2B5EF4-FFF2-40B4-BE49-F238E27FC236}">
                      <a16:creationId xmlns:a16="http://schemas.microsoft.com/office/drawing/2014/main" id="{F17461FC-3625-D2F3-BF47-D00660D98051}"/>
                    </a:ext>
                  </a:extLst>
                </p14:cNvPr>
                <p14:cNvContentPartPr/>
                <p14:nvPr/>
              </p14:nvContentPartPr>
              <p14:xfrm>
                <a:off x="9927750" y="4203210"/>
                <a:ext cx="150840" cy="140400"/>
              </p14:xfrm>
            </p:contentPart>
          </mc:Choice>
          <mc:Fallback xmlns="">
            <p:pic>
              <p:nvPicPr>
                <p:cNvPr id="225" name="Ink 224">
                  <a:extLst>
                    <a:ext uri="{FF2B5EF4-FFF2-40B4-BE49-F238E27FC236}">
                      <a16:creationId xmlns:a16="http://schemas.microsoft.com/office/drawing/2014/main" id="{F17461FC-3625-D2F3-BF47-D00660D98051}"/>
                    </a:ext>
                  </a:extLst>
                </p:cNvPr>
                <p:cNvPicPr/>
                <p:nvPr/>
              </p:nvPicPr>
              <p:blipFill>
                <a:blip r:embed="rId188"/>
                <a:stretch>
                  <a:fillRect/>
                </a:stretch>
              </p:blipFill>
              <p:spPr>
                <a:xfrm>
                  <a:off x="9921630" y="4197090"/>
                  <a:ext cx="163080" cy="152640"/>
                </a:xfrm>
                <a:prstGeom prst="rect">
                  <a:avLst/>
                </a:prstGeom>
              </p:spPr>
            </p:pic>
          </mc:Fallback>
        </mc:AlternateContent>
        <mc:AlternateContent xmlns:mc="http://schemas.openxmlformats.org/markup-compatibility/2006" xmlns:p14="http://schemas.microsoft.com/office/powerpoint/2010/main">
          <mc:Choice Requires="p14">
            <p:contentPart p14:bwMode="auto" r:id="rId189">
              <p14:nvContentPartPr>
                <p14:cNvPr id="226" name="Ink 225">
                  <a:extLst>
                    <a:ext uri="{FF2B5EF4-FFF2-40B4-BE49-F238E27FC236}">
                      <a16:creationId xmlns:a16="http://schemas.microsoft.com/office/drawing/2014/main" id="{030E324A-D7B5-FEB5-B881-DECCB8593940}"/>
                    </a:ext>
                  </a:extLst>
                </p14:cNvPr>
                <p14:cNvContentPartPr/>
                <p14:nvPr/>
              </p14:nvContentPartPr>
              <p14:xfrm>
                <a:off x="10182270" y="4190610"/>
                <a:ext cx="156600" cy="183240"/>
              </p14:xfrm>
            </p:contentPart>
          </mc:Choice>
          <mc:Fallback xmlns="">
            <p:pic>
              <p:nvPicPr>
                <p:cNvPr id="226" name="Ink 225">
                  <a:extLst>
                    <a:ext uri="{FF2B5EF4-FFF2-40B4-BE49-F238E27FC236}">
                      <a16:creationId xmlns:a16="http://schemas.microsoft.com/office/drawing/2014/main" id="{030E324A-D7B5-FEB5-B881-DECCB8593940}"/>
                    </a:ext>
                  </a:extLst>
                </p:cNvPr>
                <p:cNvPicPr/>
                <p:nvPr/>
              </p:nvPicPr>
              <p:blipFill>
                <a:blip r:embed="rId190"/>
                <a:stretch>
                  <a:fillRect/>
                </a:stretch>
              </p:blipFill>
              <p:spPr>
                <a:xfrm>
                  <a:off x="10176150" y="4184490"/>
                  <a:ext cx="168840" cy="195480"/>
                </a:xfrm>
                <a:prstGeom prst="rect">
                  <a:avLst/>
                </a:prstGeom>
              </p:spPr>
            </p:pic>
          </mc:Fallback>
        </mc:AlternateContent>
        <mc:AlternateContent xmlns:mc="http://schemas.openxmlformats.org/markup-compatibility/2006" xmlns:p14="http://schemas.microsoft.com/office/powerpoint/2010/main">
          <mc:Choice Requires="p14">
            <p:contentPart p14:bwMode="auto" r:id="rId191">
              <p14:nvContentPartPr>
                <p14:cNvPr id="228" name="Ink 227">
                  <a:extLst>
                    <a:ext uri="{FF2B5EF4-FFF2-40B4-BE49-F238E27FC236}">
                      <a16:creationId xmlns:a16="http://schemas.microsoft.com/office/drawing/2014/main" id="{EBC09479-B861-4F81-0D83-8F713182CC75}"/>
                    </a:ext>
                  </a:extLst>
                </p14:cNvPr>
                <p14:cNvContentPartPr/>
                <p14:nvPr/>
              </p14:nvContentPartPr>
              <p14:xfrm>
                <a:off x="10563150" y="4085850"/>
                <a:ext cx="164160" cy="244440"/>
              </p14:xfrm>
            </p:contentPart>
          </mc:Choice>
          <mc:Fallback xmlns="">
            <p:pic>
              <p:nvPicPr>
                <p:cNvPr id="228" name="Ink 227">
                  <a:extLst>
                    <a:ext uri="{FF2B5EF4-FFF2-40B4-BE49-F238E27FC236}">
                      <a16:creationId xmlns:a16="http://schemas.microsoft.com/office/drawing/2014/main" id="{EBC09479-B861-4F81-0D83-8F713182CC75}"/>
                    </a:ext>
                  </a:extLst>
                </p:cNvPr>
                <p:cNvPicPr/>
                <p:nvPr/>
              </p:nvPicPr>
              <p:blipFill>
                <a:blip r:embed="rId192"/>
                <a:stretch>
                  <a:fillRect/>
                </a:stretch>
              </p:blipFill>
              <p:spPr>
                <a:xfrm>
                  <a:off x="10557030" y="4079730"/>
                  <a:ext cx="176400" cy="256680"/>
                </a:xfrm>
                <a:prstGeom prst="rect">
                  <a:avLst/>
                </a:prstGeom>
              </p:spPr>
            </p:pic>
          </mc:Fallback>
        </mc:AlternateContent>
        <mc:AlternateContent xmlns:mc="http://schemas.openxmlformats.org/markup-compatibility/2006" xmlns:p14="http://schemas.microsoft.com/office/powerpoint/2010/main">
          <mc:Choice Requires="p14">
            <p:contentPart p14:bwMode="auto" r:id="rId193">
              <p14:nvContentPartPr>
                <p14:cNvPr id="229" name="Ink 228">
                  <a:extLst>
                    <a:ext uri="{FF2B5EF4-FFF2-40B4-BE49-F238E27FC236}">
                      <a16:creationId xmlns:a16="http://schemas.microsoft.com/office/drawing/2014/main" id="{84353F4B-D6B7-3271-4A93-D7C8A970AA47}"/>
                    </a:ext>
                  </a:extLst>
                </p14:cNvPr>
                <p14:cNvContentPartPr/>
                <p14:nvPr/>
              </p14:nvContentPartPr>
              <p14:xfrm>
                <a:off x="10790310" y="4175490"/>
                <a:ext cx="99000" cy="131760"/>
              </p14:xfrm>
            </p:contentPart>
          </mc:Choice>
          <mc:Fallback xmlns="">
            <p:pic>
              <p:nvPicPr>
                <p:cNvPr id="229" name="Ink 228">
                  <a:extLst>
                    <a:ext uri="{FF2B5EF4-FFF2-40B4-BE49-F238E27FC236}">
                      <a16:creationId xmlns:a16="http://schemas.microsoft.com/office/drawing/2014/main" id="{84353F4B-D6B7-3271-4A93-D7C8A970AA47}"/>
                    </a:ext>
                  </a:extLst>
                </p:cNvPr>
                <p:cNvPicPr/>
                <p:nvPr/>
              </p:nvPicPr>
              <p:blipFill>
                <a:blip r:embed="rId194"/>
                <a:stretch>
                  <a:fillRect/>
                </a:stretch>
              </p:blipFill>
              <p:spPr>
                <a:xfrm>
                  <a:off x="10784190" y="4169370"/>
                  <a:ext cx="111240" cy="144000"/>
                </a:xfrm>
                <a:prstGeom prst="rect">
                  <a:avLst/>
                </a:prstGeom>
              </p:spPr>
            </p:pic>
          </mc:Fallback>
        </mc:AlternateContent>
        <mc:AlternateContent xmlns:mc="http://schemas.openxmlformats.org/markup-compatibility/2006" xmlns:p14="http://schemas.microsoft.com/office/powerpoint/2010/main">
          <mc:Choice Requires="p14">
            <p:contentPart p14:bwMode="auto" r:id="rId195">
              <p14:nvContentPartPr>
                <p14:cNvPr id="230" name="Ink 229">
                  <a:extLst>
                    <a:ext uri="{FF2B5EF4-FFF2-40B4-BE49-F238E27FC236}">
                      <a16:creationId xmlns:a16="http://schemas.microsoft.com/office/drawing/2014/main" id="{79FF0422-147E-86DA-06F1-613314A1CE52}"/>
                    </a:ext>
                  </a:extLst>
                </p14:cNvPr>
                <p14:cNvContentPartPr/>
                <p14:nvPr/>
              </p14:nvContentPartPr>
              <p14:xfrm>
                <a:off x="10954470" y="4175850"/>
                <a:ext cx="142920" cy="140040"/>
              </p14:xfrm>
            </p:contentPart>
          </mc:Choice>
          <mc:Fallback xmlns="">
            <p:pic>
              <p:nvPicPr>
                <p:cNvPr id="230" name="Ink 229">
                  <a:extLst>
                    <a:ext uri="{FF2B5EF4-FFF2-40B4-BE49-F238E27FC236}">
                      <a16:creationId xmlns:a16="http://schemas.microsoft.com/office/drawing/2014/main" id="{79FF0422-147E-86DA-06F1-613314A1CE52}"/>
                    </a:ext>
                  </a:extLst>
                </p:cNvPr>
                <p:cNvPicPr/>
                <p:nvPr/>
              </p:nvPicPr>
              <p:blipFill>
                <a:blip r:embed="rId196"/>
                <a:stretch>
                  <a:fillRect/>
                </a:stretch>
              </p:blipFill>
              <p:spPr>
                <a:xfrm>
                  <a:off x="10948350" y="4169730"/>
                  <a:ext cx="155160" cy="152280"/>
                </a:xfrm>
                <a:prstGeom prst="rect">
                  <a:avLst/>
                </a:prstGeom>
              </p:spPr>
            </p:pic>
          </mc:Fallback>
        </mc:AlternateContent>
        <mc:AlternateContent xmlns:mc="http://schemas.openxmlformats.org/markup-compatibility/2006" xmlns:p14="http://schemas.microsoft.com/office/powerpoint/2010/main">
          <mc:Choice Requires="p14">
            <p:contentPart p14:bwMode="auto" r:id="rId197">
              <p14:nvContentPartPr>
                <p14:cNvPr id="232" name="Ink 231">
                  <a:extLst>
                    <a:ext uri="{FF2B5EF4-FFF2-40B4-BE49-F238E27FC236}">
                      <a16:creationId xmlns:a16="http://schemas.microsoft.com/office/drawing/2014/main" id="{2EFE88BC-F9F0-0AB0-9016-062D4EC9407D}"/>
                    </a:ext>
                  </a:extLst>
                </p14:cNvPr>
                <p14:cNvContentPartPr/>
                <p14:nvPr/>
              </p14:nvContentPartPr>
              <p14:xfrm>
                <a:off x="11172270" y="4150290"/>
                <a:ext cx="123120" cy="173880"/>
              </p14:xfrm>
            </p:contentPart>
          </mc:Choice>
          <mc:Fallback xmlns="">
            <p:pic>
              <p:nvPicPr>
                <p:cNvPr id="232" name="Ink 231">
                  <a:extLst>
                    <a:ext uri="{FF2B5EF4-FFF2-40B4-BE49-F238E27FC236}">
                      <a16:creationId xmlns:a16="http://schemas.microsoft.com/office/drawing/2014/main" id="{2EFE88BC-F9F0-0AB0-9016-062D4EC9407D}"/>
                    </a:ext>
                  </a:extLst>
                </p:cNvPr>
                <p:cNvPicPr/>
                <p:nvPr/>
              </p:nvPicPr>
              <p:blipFill>
                <a:blip r:embed="rId198"/>
                <a:stretch>
                  <a:fillRect/>
                </a:stretch>
              </p:blipFill>
              <p:spPr>
                <a:xfrm>
                  <a:off x="11166150" y="4144170"/>
                  <a:ext cx="135360" cy="186120"/>
                </a:xfrm>
                <a:prstGeom prst="rect">
                  <a:avLst/>
                </a:prstGeom>
              </p:spPr>
            </p:pic>
          </mc:Fallback>
        </mc:AlternateContent>
        <mc:AlternateContent xmlns:mc="http://schemas.openxmlformats.org/markup-compatibility/2006" xmlns:p14="http://schemas.microsoft.com/office/powerpoint/2010/main">
          <mc:Choice Requires="p14">
            <p:contentPart p14:bwMode="auto" r:id="rId199">
              <p14:nvContentPartPr>
                <p14:cNvPr id="234" name="Ink 233">
                  <a:extLst>
                    <a:ext uri="{FF2B5EF4-FFF2-40B4-BE49-F238E27FC236}">
                      <a16:creationId xmlns:a16="http://schemas.microsoft.com/office/drawing/2014/main" id="{FD4438DD-F3BF-79ED-7F81-DB1F74533782}"/>
                    </a:ext>
                  </a:extLst>
                </p14:cNvPr>
                <p14:cNvContentPartPr/>
                <p14:nvPr/>
              </p14:nvContentPartPr>
              <p14:xfrm>
                <a:off x="11352270" y="4144890"/>
                <a:ext cx="163800" cy="197640"/>
              </p14:xfrm>
            </p:contentPart>
          </mc:Choice>
          <mc:Fallback xmlns="">
            <p:pic>
              <p:nvPicPr>
                <p:cNvPr id="234" name="Ink 233">
                  <a:extLst>
                    <a:ext uri="{FF2B5EF4-FFF2-40B4-BE49-F238E27FC236}">
                      <a16:creationId xmlns:a16="http://schemas.microsoft.com/office/drawing/2014/main" id="{FD4438DD-F3BF-79ED-7F81-DB1F74533782}"/>
                    </a:ext>
                  </a:extLst>
                </p:cNvPr>
                <p:cNvPicPr/>
                <p:nvPr/>
              </p:nvPicPr>
              <p:blipFill>
                <a:blip r:embed="rId200"/>
                <a:stretch>
                  <a:fillRect/>
                </a:stretch>
              </p:blipFill>
              <p:spPr>
                <a:xfrm>
                  <a:off x="11346150" y="4138770"/>
                  <a:ext cx="176040" cy="209880"/>
                </a:xfrm>
                <a:prstGeom prst="rect">
                  <a:avLst/>
                </a:prstGeom>
              </p:spPr>
            </p:pic>
          </mc:Fallback>
        </mc:AlternateContent>
        <mc:AlternateContent xmlns:mc="http://schemas.openxmlformats.org/markup-compatibility/2006" xmlns:p14="http://schemas.microsoft.com/office/powerpoint/2010/main">
          <mc:Choice Requires="p14">
            <p:contentPart p14:bwMode="auto" r:id="rId201">
              <p14:nvContentPartPr>
                <p14:cNvPr id="237" name="Ink 236">
                  <a:extLst>
                    <a:ext uri="{FF2B5EF4-FFF2-40B4-BE49-F238E27FC236}">
                      <a16:creationId xmlns:a16="http://schemas.microsoft.com/office/drawing/2014/main" id="{DB56DED1-342B-40EE-6450-F72CF76B109B}"/>
                    </a:ext>
                  </a:extLst>
                </p14:cNvPr>
                <p14:cNvContentPartPr/>
                <p14:nvPr/>
              </p14:nvContentPartPr>
              <p14:xfrm>
                <a:off x="6704310" y="4543050"/>
                <a:ext cx="171360" cy="324360"/>
              </p14:xfrm>
            </p:contentPart>
          </mc:Choice>
          <mc:Fallback xmlns="">
            <p:pic>
              <p:nvPicPr>
                <p:cNvPr id="237" name="Ink 236">
                  <a:extLst>
                    <a:ext uri="{FF2B5EF4-FFF2-40B4-BE49-F238E27FC236}">
                      <a16:creationId xmlns:a16="http://schemas.microsoft.com/office/drawing/2014/main" id="{DB56DED1-342B-40EE-6450-F72CF76B109B}"/>
                    </a:ext>
                  </a:extLst>
                </p:cNvPr>
                <p:cNvPicPr/>
                <p:nvPr/>
              </p:nvPicPr>
              <p:blipFill>
                <a:blip r:embed="rId202"/>
                <a:stretch>
                  <a:fillRect/>
                </a:stretch>
              </p:blipFill>
              <p:spPr>
                <a:xfrm>
                  <a:off x="6698190" y="4536930"/>
                  <a:ext cx="183600" cy="336600"/>
                </a:xfrm>
                <a:prstGeom prst="rect">
                  <a:avLst/>
                </a:prstGeom>
              </p:spPr>
            </p:pic>
          </mc:Fallback>
        </mc:AlternateContent>
        <mc:AlternateContent xmlns:mc="http://schemas.openxmlformats.org/markup-compatibility/2006" xmlns:p14="http://schemas.microsoft.com/office/powerpoint/2010/main">
          <mc:Choice Requires="p14">
            <p:contentPart p14:bwMode="auto" r:id="rId203">
              <p14:nvContentPartPr>
                <p14:cNvPr id="238" name="Ink 237">
                  <a:extLst>
                    <a:ext uri="{FF2B5EF4-FFF2-40B4-BE49-F238E27FC236}">
                      <a16:creationId xmlns:a16="http://schemas.microsoft.com/office/drawing/2014/main" id="{B5CDA5CC-CA7D-1732-C184-BA2900953203}"/>
                    </a:ext>
                  </a:extLst>
                </p14:cNvPr>
                <p14:cNvContentPartPr/>
                <p14:nvPr/>
              </p14:nvContentPartPr>
              <p14:xfrm>
                <a:off x="6753270" y="4562130"/>
                <a:ext cx="111960" cy="360"/>
              </p14:xfrm>
            </p:contentPart>
          </mc:Choice>
          <mc:Fallback xmlns="">
            <p:pic>
              <p:nvPicPr>
                <p:cNvPr id="238" name="Ink 237">
                  <a:extLst>
                    <a:ext uri="{FF2B5EF4-FFF2-40B4-BE49-F238E27FC236}">
                      <a16:creationId xmlns:a16="http://schemas.microsoft.com/office/drawing/2014/main" id="{B5CDA5CC-CA7D-1732-C184-BA2900953203}"/>
                    </a:ext>
                  </a:extLst>
                </p:cNvPr>
                <p:cNvPicPr/>
                <p:nvPr/>
              </p:nvPicPr>
              <p:blipFill>
                <a:blip r:embed="rId204"/>
                <a:stretch>
                  <a:fillRect/>
                </a:stretch>
              </p:blipFill>
              <p:spPr>
                <a:xfrm>
                  <a:off x="6747150" y="4556010"/>
                  <a:ext cx="1242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05">
              <p14:nvContentPartPr>
                <p14:cNvPr id="239" name="Ink 238">
                  <a:extLst>
                    <a:ext uri="{FF2B5EF4-FFF2-40B4-BE49-F238E27FC236}">
                      <a16:creationId xmlns:a16="http://schemas.microsoft.com/office/drawing/2014/main" id="{A87023C2-92EA-CBF0-D82E-D0FFE09C0074}"/>
                    </a:ext>
                  </a:extLst>
                </p14:cNvPr>
                <p14:cNvContentPartPr/>
                <p14:nvPr/>
              </p14:nvContentPartPr>
              <p14:xfrm>
                <a:off x="6743550" y="4733850"/>
                <a:ext cx="171000" cy="360"/>
              </p14:xfrm>
            </p:contentPart>
          </mc:Choice>
          <mc:Fallback xmlns="">
            <p:pic>
              <p:nvPicPr>
                <p:cNvPr id="239" name="Ink 238">
                  <a:extLst>
                    <a:ext uri="{FF2B5EF4-FFF2-40B4-BE49-F238E27FC236}">
                      <a16:creationId xmlns:a16="http://schemas.microsoft.com/office/drawing/2014/main" id="{A87023C2-92EA-CBF0-D82E-D0FFE09C0074}"/>
                    </a:ext>
                  </a:extLst>
                </p:cNvPr>
                <p:cNvPicPr/>
                <p:nvPr/>
              </p:nvPicPr>
              <p:blipFill>
                <a:blip r:embed="rId206"/>
                <a:stretch>
                  <a:fillRect/>
                </a:stretch>
              </p:blipFill>
              <p:spPr>
                <a:xfrm>
                  <a:off x="6737430" y="4727730"/>
                  <a:ext cx="18324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07">
              <p14:nvContentPartPr>
                <p14:cNvPr id="240" name="Ink 239">
                  <a:extLst>
                    <a:ext uri="{FF2B5EF4-FFF2-40B4-BE49-F238E27FC236}">
                      <a16:creationId xmlns:a16="http://schemas.microsoft.com/office/drawing/2014/main" id="{DDE41D3B-740F-3451-B972-A9053409CC6A}"/>
                    </a:ext>
                  </a:extLst>
                </p14:cNvPr>
                <p14:cNvContentPartPr/>
                <p14:nvPr/>
              </p14:nvContentPartPr>
              <p14:xfrm>
                <a:off x="6819870" y="4838610"/>
                <a:ext cx="110520" cy="29880"/>
              </p14:xfrm>
            </p:contentPart>
          </mc:Choice>
          <mc:Fallback xmlns="">
            <p:pic>
              <p:nvPicPr>
                <p:cNvPr id="240" name="Ink 239">
                  <a:extLst>
                    <a:ext uri="{FF2B5EF4-FFF2-40B4-BE49-F238E27FC236}">
                      <a16:creationId xmlns:a16="http://schemas.microsoft.com/office/drawing/2014/main" id="{DDE41D3B-740F-3451-B972-A9053409CC6A}"/>
                    </a:ext>
                  </a:extLst>
                </p:cNvPr>
                <p:cNvPicPr/>
                <p:nvPr/>
              </p:nvPicPr>
              <p:blipFill>
                <a:blip r:embed="rId208"/>
                <a:stretch>
                  <a:fillRect/>
                </a:stretch>
              </p:blipFill>
              <p:spPr>
                <a:xfrm>
                  <a:off x="6813750" y="4832490"/>
                  <a:ext cx="122760" cy="42120"/>
                </a:xfrm>
                <a:prstGeom prst="rect">
                  <a:avLst/>
                </a:prstGeom>
              </p:spPr>
            </p:pic>
          </mc:Fallback>
        </mc:AlternateContent>
        <mc:AlternateContent xmlns:mc="http://schemas.openxmlformats.org/markup-compatibility/2006" xmlns:p14="http://schemas.microsoft.com/office/powerpoint/2010/main">
          <mc:Choice Requires="p14">
            <p:contentPart p14:bwMode="auto" r:id="rId209">
              <p14:nvContentPartPr>
                <p14:cNvPr id="242" name="Ink 241">
                  <a:extLst>
                    <a:ext uri="{FF2B5EF4-FFF2-40B4-BE49-F238E27FC236}">
                      <a16:creationId xmlns:a16="http://schemas.microsoft.com/office/drawing/2014/main" id="{BD4FB03F-E935-CEAC-545D-5211979361A3}"/>
                    </a:ext>
                  </a:extLst>
                </p14:cNvPr>
                <p14:cNvContentPartPr/>
                <p14:nvPr/>
              </p14:nvContentPartPr>
              <p14:xfrm>
                <a:off x="7074750" y="4695690"/>
                <a:ext cx="195120" cy="178920"/>
              </p14:xfrm>
            </p:contentPart>
          </mc:Choice>
          <mc:Fallback xmlns="">
            <p:pic>
              <p:nvPicPr>
                <p:cNvPr id="242" name="Ink 241">
                  <a:extLst>
                    <a:ext uri="{FF2B5EF4-FFF2-40B4-BE49-F238E27FC236}">
                      <a16:creationId xmlns:a16="http://schemas.microsoft.com/office/drawing/2014/main" id="{BD4FB03F-E935-CEAC-545D-5211979361A3}"/>
                    </a:ext>
                  </a:extLst>
                </p:cNvPr>
                <p:cNvPicPr/>
                <p:nvPr/>
              </p:nvPicPr>
              <p:blipFill>
                <a:blip r:embed="rId210"/>
                <a:stretch>
                  <a:fillRect/>
                </a:stretch>
              </p:blipFill>
              <p:spPr>
                <a:xfrm>
                  <a:off x="7068630" y="4689570"/>
                  <a:ext cx="207360" cy="191160"/>
                </a:xfrm>
                <a:prstGeom prst="rect">
                  <a:avLst/>
                </a:prstGeom>
              </p:spPr>
            </p:pic>
          </mc:Fallback>
        </mc:AlternateContent>
        <mc:AlternateContent xmlns:mc="http://schemas.openxmlformats.org/markup-compatibility/2006" xmlns:p14="http://schemas.microsoft.com/office/powerpoint/2010/main">
          <mc:Choice Requires="p14">
            <p:contentPart p14:bwMode="auto" r:id="rId211">
              <p14:nvContentPartPr>
                <p14:cNvPr id="243" name="Ink 242">
                  <a:extLst>
                    <a:ext uri="{FF2B5EF4-FFF2-40B4-BE49-F238E27FC236}">
                      <a16:creationId xmlns:a16="http://schemas.microsoft.com/office/drawing/2014/main" id="{1D3C6C0D-61F1-8CAD-3B97-B1091DFBF491}"/>
                    </a:ext>
                  </a:extLst>
                </p14:cNvPr>
                <p14:cNvContentPartPr/>
                <p14:nvPr/>
              </p14:nvContentPartPr>
              <p14:xfrm>
                <a:off x="7162590" y="4781370"/>
                <a:ext cx="93960" cy="96480"/>
              </p14:xfrm>
            </p:contentPart>
          </mc:Choice>
          <mc:Fallback xmlns="">
            <p:pic>
              <p:nvPicPr>
                <p:cNvPr id="243" name="Ink 242">
                  <a:extLst>
                    <a:ext uri="{FF2B5EF4-FFF2-40B4-BE49-F238E27FC236}">
                      <a16:creationId xmlns:a16="http://schemas.microsoft.com/office/drawing/2014/main" id="{1D3C6C0D-61F1-8CAD-3B97-B1091DFBF491}"/>
                    </a:ext>
                  </a:extLst>
                </p:cNvPr>
                <p:cNvPicPr/>
                <p:nvPr/>
              </p:nvPicPr>
              <p:blipFill>
                <a:blip r:embed="rId212"/>
                <a:stretch>
                  <a:fillRect/>
                </a:stretch>
              </p:blipFill>
              <p:spPr>
                <a:xfrm>
                  <a:off x="7156470" y="4775250"/>
                  <a:ext cx="106200" cy="108720"/>
                </a:xfrm>
                <a:prstGeom prst="rect">
                  <a:avLst/>
                </a:prstGeom>
              </p:spPr>
            </p:pic>
          </mc:Fallback>
        </mc:AlternateContent>
        <mc:AlternateContent xmlns:mc="http://schemas.openxmlformats.org/markup-compatibility/2006" xmlns:p14="http://schemas.microsoft.com/office/powerpoint/2010/main">
          <mc:Choice Requires="p14">
            <p:contentPart p14:bwMode="auto" r:id="rId213">
              <p14:nvContentPartPr>
                <p14:cNvPr id="245" name="Ink 244">
                  <a:extLst>
                    <a:ext uri="{FF2B5EF4-FFF2-40B4-BE49-F238E27FC236}">
                      <a16:creationId xmlns:a16="http://schemas.microsoft.com/office/drawing/2014/main" id="{613CDDD1-F802-BC9F-B2B1-4FC05B1C1ED8}"/>
                    </a:ext>
                  </a:extLst>
                </p14:cNvPr>
                <p14:cNvContentPartPr/>
                <p14:nvPr/>
              </p14:nvContentPartPr>
              <p14:xfrm>
                <a:off x="7334310" y="4695690"/>
                <a:ext cx="161640" cy="212040"/>
              </p14:xfrm>
            </p:contentPart>
          </mc:Choice>
          <mc:Fallback xmlns="">
            <p:pic>
              <p:nvPicPr>
                <p:cNvPr id="245" name="Ink 244">
                  <a:extLst>
                    <a:ext uri="{FF2B5EF4-FFF2-40B4-BE49-F238E27FC236}">
                      <a16:creationId xmlns:a16="http://schemas.microsoft.com/office/drawing/2014/main" id="{613CDDD1-F802-BC9F-B2B1-4FC05B1C1ED8}"/>
                    </a:ext>
                  </a:extLst>
                </p:cNvPr>
                <p:cNvPicPr/>
                <p:nvPr/>
              </p:nvPicPr>
              <p:blipFill>
                <a:blip r:embed="rId214"/>
                <a:stretch>
                  <a:fillRect/>
                </a:stretch>
              </p:blipFill>
              <p:spPr>
                <a:xfrm>
                  <a:off x="7328190" y="4689570"/>
                  <a:ext cx="173880" cy="224280"/>
                </a:xfrm>
                <a:prstGeom prst="rect">
                  <a:avLst/>
                </a:prstGeom>
              </p:spPr>
            </p:pic>
          </mc:Fallback>
        </mc:AlternateContent>
        <mc:AlternateContent xmlns:mc="http://schemas.openxmlformats.org/markup-compatibility/2006" xmlns:p14="http://schemas.microsoft.com/office/powerpoint/2010/main">
          <mc:Choice Requires="p14">
            <p:contentPart p14:bwMode="auto" r:id="rId215">
              <p14:nvContentPartPr>
                <p14:cNvPr id="246" name="Ink 245">
                  <a:extLst>
                    <a:ext uri="{FF2B5EF4-FFF2-40B4-BE49-F238E27FC236}">
                      <a16:creationId xmlns:a16="http://schemas.microsoft.com/office/drawing/2014/main" id="{241ED2BA-5CDA-B99C-B4A5-854E870E2413}"/>
                    </a:ext>
                  </a:extLst>
                </p14:cNvPr>
                <p14:cNvContentPartPr/>
                <p14:nvPr/>
              </p14:nvContentPartPr>
              <p14:xfrm>
                <a:off x="7561830" y="4714410"/>
                <a:ext cx="99360" cy="181440"/>
              </p14:xfrm>
            </p:contentPart>
          </mc:Choice>
          <mc:Fallback xmlns="">
            <p:pic>
              <p:nvPicPr>
                <p:cNvPr id="246" name="Ink 245">
                  <a:extLst>
                    <a:ext uri="{FF2B5EF4-FFF2-40B4-BE49-F238E27FC236}">
                      <a16:creationId xmlns:a16="http://schemas.microsoft.com/office/drawing/2014/main" id="{241ED2BA-5CDA-B99C-B4A5-854E870E2413}"/>
                    </a:ext>
                  </a:extLst>
                </p:cNvPr>
                <p:cNvPicPr/>
                <p:nvPr/>
              </p:nvPicPr>
              <p:blipFill>
                <a:blip r:embed="rId216"/>
                <a:stretch>
                  <a:fillRect/>
                </a:stretch>
              </p:blipFill>
              <p:spPr>
                <a:xfrm>
                  <a:off x="7555710" y="4708290"/>
                  <a:ext cx="111600" cy="193680"/>
                </a:xfrm>
                <a:prstGeom prst="rect">
                  <a:avLst/>
                </a:prstGeom>
              </p:spPr>
            </p:pic>
          </mc:Fallback>
        </mc:AlternateContent>
        <mc:AlternateContent xmlns:mc="http://schemas.openxmlformats.org/markup-compatibility/2006" xmlns:p14="http://schemas.microsoft.com/office/powerpoint/2010/main">
          <mc:Choice Requires="p14">
            <p:contentPart p14:bwMode="auto" r:id="rId217">
              <p14:nvContentPartPr>
                <p14:cNvPr id="247" name="Ink 246">
                  <a:extLst>
                    <a:ext uri="{FF2B5EF4-FFF2-40B4-BE49-F238E27FC236}">
                      <a16:creationId xmlns:a16="http://schemas.microsoft.com/office/drawing/2014/main" id="{F8211A43-1A69-132F-07AD-70FC4724E1E5}"/>
                    </a:ext>
                  </a:extLst>
                </p14:cNvPr>
                <p14:cNvContentPartPr/>
                <p14:nvPr/>
              </p14:nvContentPartPr>
              <p14:xfrm>
                <a:off x="7591350" y="4800450"/>
                <a:ext cx="35280" cy="360"/>
              </p14:xfrm>
            </p:contentPart>
          </mc:Choice>
          <mc:Fallback xmlns="">
            <p:pic>
              <p:nvPicPr>
                <p:cNvPr id="247" name="Ink 246">
                  <a:extLst>
                    <a:ext uri="{FF2B5EF4-FFF2-40B4-BE49-F238E27FC236}">
                      <a16:creationId xmlns:a16="http://schemas.microsoft.com/office/drawing/2014/main" id="{F8211A43-1A69-132F-07AD-70FC4724E1E5}"/>
                    </a:ext>
                  </a:extLst>
                </p:cNvPr>
                <p:cNvPicPr/>
                <p:nvPr/>
              </p:nvPicPr>
              <p:blipFill>
                <a:blip r:embed="rId218"/>
                <a:stretch>
                  <a:fillRect/>
                </a:stretch>
              </p:blipFill>
              <p:spPr>
                <a:xfrm>
                  <a:off x="7585230" y="4794330"/>
                  <a:ext cx="4752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19">
              <p14:nvContentPartPr>
                <p14:cNvPr id="249" name="Ink 248">
                  <a:extLst>
                    <a:ext uri="{FF2B5EF4-FFF2-40B4-BE49-F238E27FC236}">
                      <a16:creationId xmlns:a16="http://schemas.microsoft.com/office/drawing/2014/main" id="{4D9045E9-158A-05F2-DB0A-53B5B1F179B2}"/>
                    </a:ext>
                  </a:extLst>
                </p14:cNvPr>
                <p14:cNvContentPartPr/>
                <p14:nvPr/>
              </p14:nvContentPartPr>
              <p14:xfrm>
                <a:off x="7686390" y="4571850"/>
                <a:ext cx="42120" cy="304560"/>
              </p14:xfrm>
            </p:contentPart>
          </mc:Choice>
          <mc:Fallback xmlns="">
            <p:pic>
              <p:nvPicPr>
                <p:cNvPr id="249" name="Ink 248">
                  <a:extLst>
                    <a:ext uri="{FF2B5EF4-FFF2-40B4-BE49-F238E27FC236}">
                      <a16:creationId xmlns:a16="http://schemas.microsoft.com/office/drawing/2014/main" id="{4D9045E9-158A-05F2-DB0A-53B5B1F179B2}"/>
                    </a:ext>
                  </a:extLst>
                </p:cNvPr>
                <p:cNvPicPr/>
                <p:nvPr/>
              </p:nvPicPr>
              <p:blipFill>
                <a:blip r:embed="rId220"/>
                <a:stretch>
                  <a:fillRect/>
                </a:stretch>
              </p:blipFill>
              <p:spPr>
                <a:xfrm>
                  <a:off x="7680270" y="4565730"/>
                  <a:ext cx="54360" cy="316800"/>
                </a:xfrm>
                <a:prstGeom prst="rect">
                  <a:avLst/>
                </a:prstGeom>
              </p:spPr>
            </p:pic>
          </mc:Fallback>
        </mc:AlternateContent>
        <mc:AlternateContent xmlns:mc="http://schemas.openxmlformats.org/markup-compatibility/2006" xmlns:p14="http://schemas.microsoft.com/office/powerpoint/2010/main">
          <mc:Choice Requires="p14">
            <p:contentPart p14:bwMode="auto" r:id="rId221">
              <p14:nvContentPartPr>
                <p14:cNvPr id="250" name="Ink 249">
                  <a:extLst>
                    <a:ext uri="{FF2B5EF4-FFF2-40B4-BE49-F238E27FC236}">
                      <a16:creationId xmlns:a16="http://schemas.microsoft.com/office/drawing/2014/main" id="{98A9BDED-FD8F-C86E-A934-58F777D1CE47}"/>
                    </a:ext>
                  </a:extLst>
                </p14:cNvPr>
                <p14:cNvContentPartPr/>
                <p14:nvPr/>
              </p14:nvContentPartPr>
              <p14:xfrm>
                <a:off x="7829310" y="4733850"/>
                <a:ext cx="19800" cy="124920"/>
              </p14:xfrm>
            </p:contentPart>
          </mc:Choice>
          <mc:Fallback xmlns="">
            <p:pic>
              <p:nvPicPr>
                <p:cNvPr id="250" name="Ink 249">
                  <a:extLst>
                    <a:ext uri="{FF2B5EF4-FFF2-40B4-BE49-F238E27FC236}">
                      <a16:creationId xmlns:a16="http://schemas.microsoft.com/office/drawing/2014/main" id="{98A9BDED-FD8F-C86E-A934-58F777D1CE47}"/>
                    </a:ext>
                  </a:extLst>
                </p:cNvPr>
                <p:cNvPicPr/>
                <p:nvPr/>
              </p:nvPicPr>
              <p:blipFill>
                <a:blip r:embed="rId222"/>
                <a:stretch>
                  <a:fillRect/>
                </a:stretch>
              </p:blipFill>
              <p:spPr>
                <a:xfrm>
                  <a:off x="7823190" y="4727730"/>
                  <a:ext cx="32040" cy="137160"/>
                </a:xfrm>
                <a:prstGeom prst="rect">
                  <a:avLst/>
                </a:prstGeom>
              </p:spPr>
            </p:pic>
          </mc:Fallback>
        </mc:AlternateContent>
        <mc:AlternateContent xmlns:mc="http://schemas.openxmlformats.org/markup-compatibility/2006" xmlns:p14="http://schemas.microsoft.com/office/powerpoint/2010/main">
          <mc:Choice Requires="p14">
            <p:contentPart p14:bwMode="auto" r:id="rId223">
              <p14:nvContentPartPr>
                <p14:cNvPr id="252" name="Ink 251">
                  <a:extLst>
                    <a:ext uri="{FF2B5EF4-FFF2-40B4-BE49-F238E27FC236}">
                      <a16:creationId xmlns:a16="http://schemas.microsoft.com/office/drawing/2014/main" id="{E6DE1C58-1F3A-FFFF-3965-03ED653367F1}"/>
                    </a:ext>
                  </a:extLst>
                </p14:cNvPr>
                <p14:cNvContentPartPr/>
                <p14:nvPr/>
              </p14:nvContentPartPr>
              <p14:xfrm>
                <a:off x="7830030" y="4619370"/>
                <a:ext cx="18720" cy="49680"/>
              </p14:xfrm>
            </p:contentPart>
          </mc:Choice>
          <mc:Fallback xmlns="">
            <p:pic>
              <p:nvPicPr>
                <p:cNvPr id="252" name="Ink 251">
                  <a:extLst>
                    <a:ext uri="{FF2B5EF4-FFF2-40B4-BE49-F238E27FC236}">
                      <a16:creationId xmlns:a16="http://schemas.microsoft.com/office/drawing/2014/main" id="{E6DE1C58-1F3A-FFFF-3965-03ED653367F1}"/>
                    </a:ext>
                  </a:extLst>
                </p:cNvPr>
                <p:cNvPicPr/>
                <p:nvPr/>
              </p:nvPicPr>
              <p:blipFill>
                <a:blip r:embed="rId224"/>
                <a:stretch>
                  <a:fillRect/>
                </a:stretch>
              </p:blipFill>
              <p:spPr>
                <a:xfrm>
                  <a:off x="7823910" y="4613250"/>
                  <a:ext cx="30960" cy="61920"/>
                </a:xfrm>
                <a:prstGeom prst="rect">
                  <a:avLst/>
                </a:prstGeom>
              </p:spPr>
            </p:pic>
          </mc:Fallback>
        </mc:AlternateContent>
        <mc:AlternateContent xmlns:mc="http://schemas.openxmlformats.org/markup-compatibility/2006" xmlns:p14="http://schemas.microsoft.com/office/powerpoint/2010/main">
          <mc:Choice Requires="p14">
            <p:contentPart p14:bwMode="auto" r:id="rId225">
              <p14:nvContentPartPr>
                <p14:cNvPr id="253" name="Ink 252">
                  <a:extLst>
                    <a:ext uri="{FF2B5EF4-FFF2-40B4-BE49-F238E27FC236}">
                      <a16:creationId xmlns:a16="http://schemas.microsoft.com/office/drawing/2014/main" id="{A5C3A47D-03DC-5C02-8BF1-823DB281D786}"/>
                    </a:ext>
                  </a:extLst>
                </p14:cNvPr>
                <p14:cNvContentPartPr/>
                <p14:nvPr/>
              </p14:nvContentPartPr>
              <p14:xfrm>
                <a:off x="7934070" y="4742850"/>
                <a:ext cx="226800" cy="129240"/>
              </p14:xfrm>
            </p:contentPart>
          </mc:Choice>
          <mc:Fallback xmlns="">
            <p:pic>
              <p:nvPicPr>
                <p:cNvPr id="253" name="Ink 252">
                  <a:extLst>
                    <a:ext uri="{FF2B5EF4-FFF2-40B4-BE49-F238E27FC236}">
                      <a16:creationId xmlns:a16="http://schemas.microsoft.com/office/drawing/2014/main" id="{A5C3A47D-03DC-5C02-8BF1-823DB281D786}"/>
                    </a:ext>
                  </a:extLst>
                </p:cNvPr>
                <p:cNvPicPr/>
                <p:nvPr/>
              </p:nvPicPr>
              <p:blipFill>
                <a:blip r:embed="rId226"/>
                <a:stretch>
                  <a:fillRect/>
                </a:stretch>
              </p:blipFill>
              <p:spPr>
                <a:xfrm>
                  <a:off x="7927950" y="4736730"/>
                  <a:ext cx="239040" cy="141480"/>
                </a:xfrm>
                <a:prstGeom prst="rect">
                  <a:avLst/>
                </a:prstGeom>
              </p:spPr>
            </p:pic>
          </mc:Fallback>
        </mc:AlternateContent>
        <mc:AlternateContent xmlns:mc="http://schemas.openxmlformats.org/markup-compatibility/2006" xmlns:p14="http://schemas.microsoft.com/office/powerpoint/2010/main">
          <mc:Choice Requires="p14">
            <p:contentPart p14:bwMode="auto" r:id="rId227">
              <p14:nvContentPartPr>
                <p14:cNvPr id="255" name="Ink 254">
                  <a:extLst>
                    <a:ext uri="{FF2B5EF4-FFF2-40B4-BE49-F238E27FC236}">
                      <a16:creationId xmlns:a16="http://schemas.microsoft.com/office/drawing/2014/main" id="{E1F5B8E2-E256-E70C-96FA-448851CFC878}"/>
                    </a:ext>
                  </a:extLst>
                </p14:cNvPr>
                <p14:cNvContentPartPr/>
                <p14:nvPr/>
              </p14:nvContentPartPr>
              <p14:xfrm>
                <a:off x="8238990" y="4743210"/>
                <a:ext cx="204840" cy="174600"/>
              </p14:xfrm>
            </p:contentPart>
          </mc:Choice>
          <mc:Fallback xmlns="">
            <p:pic>
              <p:nvPicPr>
                <p:cNvPr id="255" name="Ink 254">
                  <a:extLst>
                    <a:ext uri="{FF2B5EF4-FFF2-40B4-BE49-F238E27FC236}">
                      <a16:creationId xmlns:a16="http://schemas.microsoft.com/office/drawing/2014/main" id="{E1F5B8E2-E256-E70C-96FA-448851CFC878}"/>
                    </a:ext>
                  </a:extLst>
                </p:cNvPr>
                <p:cNvPicPr/>
                <p:nvPr/>
              </p:nvPicPr>
              <p:blipFill>
                <a:blip r:embed="rId228"/>
                <a:stretch>
                  <a:fillRect/>
                </a:stretch>
              </p:blipFill>
              <p:spPr>
                <a:xfrm>
                  <a:off x="8232870" y="4737090"/>
                  <a:ext cx="217080" cy="186840"/>
                </a:xfrm>
                <a:prstGeom prst="rect">
                  <a:avLst/>
                </a:prstGeom>
              </p:spPr>
            </p:pic>
          </mc:Fallback>
        </mc:AlternateContent>
        <mc:AlternateContent xmlns:mc="http://schemas.openxmlformats.org/markup-compatibility/2006" xmlns:p14="http://schemas.microsoft.com/office/powerpoint/2010/main">
          <mc:Choice Requires="p14">
            <p:contentPart p14:bwMode="auto" r:id="rId229">
              <p14:nvContentPartPr>
                <p14:cNvPr id="256" name="Ink 255">
                  <a:extLst>
                    <a:ext uri="{FF2B5EF4-FFF2-40B4-BE49-F238E27FC236}">
                      <a16:creationId xmlns:a16="http://schemas.microsoft.com/office/drawing/2014/main" id="{3CFEE0D2-5E23-A7DC-2544-C4EB48D9FBFE}"/>
                    </a:ext>
                  </a:extLst>
                </p14:cNvPr>
                <p14:cNvContentPartPr/>
                <p14:nvPr/>
              </p14:nvContentPartPr>
              <p14:xfrm>
                <a:off x="8277150" y="4724130"/>
                <a:ext cx="120240" cy="19800"/>
              </p14:xfrm>
            </p:contentPart>
          </mc:Choice>
          <mc:Fallback xmlns="">
            <p:pic>
              <p:nvPicPr>
                <p:cNvPr id="256" name="Ink 255">
                  <a:extLst>
                    <a:ext uri="{FF2B5EF4-FFF2-40B4-BE49-F238E27FC236}">
                      <a16:creationId xmlns:a16="http://schemas.microsoft.com/office/drawing/2014/main" id="{3CFEE0D2-5E23-A7DC-2544-C4EB48D9FBFE}"/>
                    </a:ext>
                  </a:extLst>
                </p:cNvPr>
                <p:cNvPicPr/>
                <p:nvPr/>
              </p:nvPicPr>
              <p:blipFill>
                <a:blip r:embed="rId230"/>
                <a:stretch>
                  <a:fillRect/>
                </a:stretch>
              </p:blipFill>
              <p:spPr>
                <a:xfrm>
                  <a:off x="8271030" y="4718010"/>
                  <a:ext cx="132480" cy="32040"/>
                </a:xfrm>
                <a:prstGeom prst="rect">
                  <a:avLst/>
                </a:prstGeom>
              </p:spPr>
            </p:pic>
          </mc:Fallback>
        </mc:AlternateContent>
        <mc:AlternateContent xmlns:mc="http://schemas.openxmlformats.org/markup-compatibility/2006" xmlns:p14="http://schemas.microsoft.com/office/powerpoint/2010/main">
          <mc:Choice Requires="p14">
            <p:contentPart p14:bwMode="auto" r:id="rId231">
              <p14:nvContentPartPr>
                <p14:cNvPr id="257" name="Ink 256">
                  <a:extLst>
                    <a:ext uri="{FF2B5EF4-FFF2-40B4-BE49-F238E27FC236}">
                      <a16:creationId xmlns:a16="http://schemas.microsoft.com/office/drawing/2014/main" id="{CE27D136-7933-4C73-F163-ED3E8D1EA3D7}"/>
                    </a:ext>
                  </a:extLst>
                </p14:cNvPr>
                <p14:cNvContentPartPr/>
                <p14:nvPr/>
              </p14:nvContentPartPr>
              <p14:xfrm>
                <a:off x="8267430" y="4838610"/>
                <a:ext cx="75240" cy="360"/>
              </p14:xfrm>
            </p:contentPart>
          </mc:Choice>
          <mc:Fallback xmlns="">
            <p:pic>
              <p:nvPicPr>
                <p:cNvPr id="257" name="Ink 256">
                  <a:extLst>
                    <a:ext uri="{FF2B5EF4-FFF2-40B4-BE49-F238E27FC236}">
                      <a16:creationId xmlns:a16="http://schemas.microsoft.com/office/drawing/2014/main" id="{CE27D136-7933-4C73-F163-ED3E8D1EA3D7}"/>
                    </a:ext>
                  </a:extLst>
                </p:cNvPr>
                <p:cNvPicPr/>
                <p:nvPr/>
              </p:nvPicPr>
              <p:blipFill>
                <a:blip r:embed="rId232"/>
                <a:stretch>
                  <a:fillRect/>
                </a:stretch>
              </p:blipFill>
              <p:spPr>
                <a:xfrm>
                  <a:off x="8261310" y="4832490"/>
                  <a:ext cx="8748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33">
              <p14:nvContentPartPr>
                <p14:cNvPr id="259" name="Ink 258">
                  <a:extLst>
                    <a:ext uri="{FF2B5EF4-FFF2-40B4-BE49-F238E27FC236}">
                      <a16:creationId xmlns:a16="http://schemas.microsoft.com/office/drawing/2014/main" id="{90DF3B49-0198-B8BF-9874-1AC6D7D958C7}"/>
                    </a:ext>
                  </a:extLst>
                </p14:cNvPr>
                <p14:cNvContentPartPr/>
                <p14:nvPr/>
              </p14:nvContentPartPr>
              <p14:xfrm>
                <a:off x="6180870" y="3047250"/>
                <a:ext cx="3715920" cy="1681200"/>
              </p14:xfrm>
            </p:contentPart>
          </mc:Choice>
          <mc:Fallback xmlns="">
            <p:pic>
              <p:nvPicPr>
                <p:cNvPr id="259" name="Ink 258">
                  <a:extLst>
                    <a:ext uri="{FF2B5EF4-FFF2-40B4-BE49-F238E27FC236}">
                      <a16:creationId xmlns:a16="http://schemas.microsoft.com/office/drawing/2014/main" id="{90DF3B49-0198-B8BF-9874-1AC6D7D958C7}"/>
                    </a:ext>
                  </a:extLst>
                </p:cNvPr>
                <p:cNvPicPr/>
                <p:nvPr/>
              </p:nvPicPr>
              <p:blipFill>
                <a:blip r:embed="rId234"/>
                <a:stretch>
                  <a:fillRect/>
                </a:stretch>
              </p:blipFill>
              <p:spPr>
                <a:xfrm>
                  <a:off x="6174750" y="3041130"/>
                  <a:ext cx="3728160" cy="1693440"/>
                </a:xfrm>
                <a:prstGeom prst="rect">
                  <a:avLst/>
                </a:prstGeom>
              </p:spPr>
            </p:pic>
          </mc:Fallback>
        </mc:AlternateContent>
        <mc:AlternateContent xmlns:mc="http://schemas.openxmlformats.org/markup-compatibility/2006" xmlns:p14="http://schemas.microsoft.com/office/powerpoint/2010/main">
          <mc:Choice Requires="p14">
            <p:contentPart p14:bwMode="auto" r:id="rId235">
              <p14:nvContentPartPr>
                <p14:cNvPr id="260" name="Ink 259">
                  <a:extLst>
                    <a:ext uri="{FF2B5EF4-FFF2-40B4-BE49-F238E27FC236}">
                      <a16:creationId xmlns:a16="http://schemas.microsoft.com/office/drawing/2014/main" id="{6C7676D0-E5E2-C947-84BB-E5B74F19B2B8}"/>
                    </a:ext>
                  </a:extLst>
                </p14:cNvPr>
                <p14:cNvContentPartPr/>
                <p14:nvPr/>
              </p14:nvContentPartPr>
              <p14:xfrm>
                <a:off x="6436110" y="4705050"/>
                <a:ext cx="155520" cy="168480"/>
              </p14:xfrm>
            </p:contentPart>
          </mc:Choice>
          <mc:Fallback xmlns="">
            <p:pic>
              <p:nvPicPr>
                <p:cNvPr id="260" name="Ink 259">
                  <a:extLst>
                    <a:ext uri="{FF2B5EF4-FFF2-40B4-BE49-F238E27FC236}">
                      <a16:creationId xmlns:a16="http://schemas.microsoft.com/office/drawing/2014/main" id="{6C7676D0-E5E2-C947-84BB-E5B74F19B2B8}"/>
                    </a:ext>
                  </a:extLst>
                </p:cNvPr>
                <p:cNvPicPr/>
                <p:nvPr/>
              </p:nvPicPr>
              <p:blipFill>
                <a:blip r:embed="rId236"/>
                <a:stretch>
                  <a:fillRect/>
                </a:stretch>
              </p:blipFill>
              <p:spPr>
                <a:xfrm>
                  <a:off x="6429990" y="4698930"/>
                  <a:ext cx="167760" cy="18072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237">
            <p14:nvContentPartPr>
              <p14:cNvPr id="262" name="Ink 261">
                <a:extLst>
                  <a:ext uri="{FF2B5EF4-FFF2-40B4-BE49-F238E27FC236}">
                    <a16:creationId xmlns:a16="http://schemas.microsoft.com/office/drawing/2014/main" id="{89DA7D54-AC51-7702-A7DE-50692452342A}"/>
                  </a:ext>
                </a:extLst>
              </p14:cNvPr>
              <p14:cNvContentPartPr/>
              <p14:nvPr/>
            </p14:nvContentPartPr>
            <p14:xfrm>
              <a:off x="8086350" y="2790570"/>
              <a:ext cx="12240" cy="232920"/>
            </p14:xfrm>
          </p:contentPart>
        </mc:Choice>
        <mc:Fallback xmlns="">
          <p:pic>
            <p:nvPicPr>
              <p:cNvPr id="262" name="Ink 261">
                <a:extLst>
                  <a:ext uri="{FF2B5EF4-FFF2-40B4-BE49-F238E27FC236}">
                    <a16:creationId xmlns:a16="http://schemas.microsoft.com/office/drawing/2014/main" id="{89DA7D54-AC51-7702-A7DE-50692452342A}"/>
                  </a:ext>
                </a:extLst>
              </p:cNvPr>
              <p:cNvPicPr/>
              <p:nvPr/>
            </p:nvPicPr>
            <p:blipFill>
              <a:blip r:embed="rId238"/>
              <a:stretch>
                <a:fillRect/>
              </a:stretch>
            </p:blipFill>
            <p:spPr>
              <a:xfrm>
                <a:off x="8080230" y="2784450"/>
                <a:ext cx="24480" cy="245160"/>
              </a:xfrm>
              <a:prstGeom prst="rect">
                <a:avLst/>
              </a:prstGeom>
            </p:spPr>
          </p:pic>
        </mc:Fallback>
      </mc:AlternateContent>
      <mc:AlternateContent xmlns:mc="http://schemas.openxmlformats.org/markup-compatibility/2006" xmlns:p14="http://schemas.microsoft.com/office/powerpoint/2010/main">
        <mc:Choice Requires="p14">
          <p:contentPart p14:bwMode="auto" r:id="rId239">
            <p14:nvContentPartPr>
              <p14:cNvPr id="263" name="Ink 262">
                <a:extLst>
                  <a:ext uri="{FF2B5EF4-FFF2-40B4-BE49-F238E27FC236}">
                    <a16:creationId xmlns:a16="http://schemas.microsoft.com/office/drawing/2014/main" id="{9705EB8A-BE6B-6E80-4E44-FA3BBB9DCF68}"/>
                  </a:ext>
                </a:extLst>
              </p14:cNvPr>
              <p14:cNvContentPartPr/>
              <p14:nvPr/>
            </p14:nvContentPartPr>
            <p14:xfrm>
              <a:off x="8798790" y="2704890"/>
              <a:ext cx="21600" cy="333000"/>
            </p14:xfrm>
          </p:contentPart>
        </mc:Choice>
        <mc:Fallback xmlns="">
          <p:pic>
            <p:nvPicPr>
              <p:cNvPr id="263" name="Ink 262">
                <a:extLst>
                  <a:ext uri="{FF2B5EF4-FFF2-40B4-BE49-F238E27FC236}">
                    <a16:creationId xmlns:a16="http://schemas.microsoft.com/office/drawing/2014/main" id="{9705EB8A-BE6B-6E80-4E44-FA3BBB9DCF68}"/>
                  </a:ext>
                </a:extLst>
              </p:cNvPr>
              <p:cNvPicPr/>
              <p:nvPr/>
            </p:nvPicPr>
            <p:blipFill>
              <a:blip r:embed="rId240"/>
              <a:stretch>
                <a:fillRect/>
              </a:stretch>
            </p:blipFill>
            <p:spPr>
              <a:xfrm>
                <a:off x="8792670" y="2698770"/>
                <a:ext cx="33840" cy="345240"/>
              </a:xfrm>
              <a:prstGeom prst="rect">
                <a:avLst/>
              </a:prstGeom>
            </p:spPr>
          </p:pic>
        </mc:Fallback>
      </mc:AlternateContent>
      <p:grpSp>
        <p:nvGrpSpPr>
          <p:cNvPr id="282" name="Group 281">
            <a:extLst>
              <a:ext uri="{FF2B5EF4-FFF2-40B4-BE49-F238E27FC236}">
                <a16:creationId xmlns:a16="http://schemas.microsoft.com/office/drawing/2014/main" id="{2E65DA5B-A542-6E74-0827-746EF6E608A5}"/>
              </a:ext>
            </a:extLst>
          </p:cNvPr>
          <p:cNvGrpSpPr/>
          <p:nvPr/>
        </p:nvGrpSpPr>
        <p:grpSpPr>
          <a:xfrm>
            <a:off x="8695470" y="4619370"/>
            <a:ext cx="1212840" cy="334440"/>
            <a:chOff x="8695470" y="4619370"/>
            <a:chExt cx="1212840" cy="334440"/>
          </a:xfrm>
        </p:grpSpPr>
        <mc:AlternateContent xmlns:mc="http://schemas.openxmlformats.org/markup-compatibility/2006" xmlns:p14="http://schemas.microsoft.com/office/powerpoint/2010/main">
          <mc:Choice Requires="p14">
            <p:contentPart p14:bwMode="auto" r:id="rId241">
              <p14:nvContentPartPr>
                <p14:cNvPr id="265" name="Ink 264">
                  <a:extLst>
                    <a:ext uri="{FF2B5EF4-FFF2-40B4-BE49-F238E27FC236}">
                      <a16:creationId xmlns:a16="http://schemas.microsoft.com/office/drawing/2014/main" id="{7CE7BE19-F4EE-519A-2B6D-197B25999B4B}"/>
                    </a:ext>
                  </a:extLst>
                </p14:cNvPr>
                <p14:cNvContentPartPr/>
                <p14:nvPr/>
              </p14:nvContentPartPr>
              <p14:xfrm>
                <a:off x="8695470" y="4651770"/>
                <a:ext cx="110880" cy="234720"/>
              </p14:xfrm>
            </p:contentPart>
          </mc:Choice>
          <mc:Fallback xmlns="">
            <p:pic>
              <p:nvPicPr>
                <p:cNvPr id="265" name="Ink 264">
                  <a:extLst>
                    <a:ext uri="{FF2B5EF4-FFF2-40B4-BE49-F238E27FC236}">
                      <a16:creationId xmlns:a16="http://schemas.microsoft.com/office/drawing/2014/main" id="{7CE7BE19-F4EE-519A-2B6D-197B25999B4B}"/>
                    </a:ext>
                  </a:extLst>
                </p:cNvPr>
                <p:cNvPicPr/>
                <p:nvPr/>
              </p:nvPicPr>
              <p:blipFill>
                <a:blip r:embed="rId242"/>
                <a:stretch>
                  <a:fillRect/>
                </a:stretch>
              </p:blipFill>
              <p:spPr>
                <a:xfrm>
                  <a:off x="8689350" y="4645650"/>
                  <a:ext cx="123120" cy="246960"/>
                </a:xfrm>
                <a:prstGeom prst="rect">
                  <a:avLst/>
                </a:prstGeom>
              </p:spPr>
            </p:pic>
          </mc:Fallback>
        </mc:AlternateContent>
        <mc:AlternateContent xmlns:mc="http://schemas.openxmlformats.org/markup-compatibility/2006" xmlns:p14="http://schemas.microsoft.com/office/powerpoint/2010/main">
          <mc:Choice Requires="p14">
            <p:contentPart p14:bwMode="auto" r:id="rId243">
              <p14:nvContentPartPr>
                <p14:cNvPr id="266" name="Ink 265">
                  <a:extLst>
                    <a:ext uri="{FF2B5EF4-FFF2-40B4-BE49-F238E27FC236}">
                      <a16:creationId xmlns:a16="http://schemas.microsoft.com/office/drawing/2014/main" id="{BCA97977-BDAF-37FA-3666-09A59168E131}"/>
                    </a:ext>
                  </a:extLst>
                </p14:cNvPr>
                <p14:cNvContentPartPr/>
                <p14:nvPr/>
              </p14:nvContentPartPr>
              <p14:xfrm>
                <a:off x="8705910" y="4800450"/>
                <a:ext cx="82440" cy="360"/>
              </p14:xfrm>
            </p:contentPart>
          </mc:Choice>
          <mc:Fallback xmlns="">
            <p:pic>
              <p:nvPicPr>
                <p:cNvPr id="266" name="Ink 265">
                  <a:extLst>
                    <a:ext uri="{FF2B5EF4-FFF2-40B4-BE49-F238E27FC236}">
                      <a16:creationId xmlns:a16="http://schemas.microsoft.com/office/drawing/2014/main" id="{BCA97977-BDAF-37FA-3666-09A59168E131}"/>
                    </a:ext>
                  </a:extLst>
                </p:cNvPr>
                <p:cNvPicPr/>
                <p:nvPr/>
              </p:nvPicPr>
              <p:blipFill>
                <a:blip r:embed="rId176"/>
                <a:stretch>
                  <a:fillRect/>
                </a:stretch>
              </p:blipFill>
              <p:spPr>
                <a:xfrm>
                  <a:off x="8699790" y="4794330"/>
                  <a:ext cx="9468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44">
              <p14:nvContentPartPr>
                <p14:cNvPr id="267" name="Ink 266">
                  <a:extLst>
                    <a:ext uri="{FF2B5EF4-FFF2-40B4-BE49-F238E27FC236}">
                      <a16:creationId xmlns:a16="http://schemas.microsoft.com/office/drawing/2014/main" id="{F46B5882-3105-4327-F292-321D3288682B}"/>
                    </a:ext>
                  </a:extLst>
                </p14:cNvPr>
                <p14:cNvContentPartPr/>
                <p14:nvPr/>
              </p14:nvContentPartPr>
              <p14:xfrm>
                <a:off x="8857470" y="4771290"/>
                <a:ext cx="91440" cy="106920"/>
              </p14:xfrm>
            </p:contentPart>
          </mc:Choice>
          <mc:Fallback xmlns="">
            <p:pic>
              <p:nvPicPr>
                <p:cNvPr id="267" name="Ink 266">
                  <a:extLst>
                    <a:ext uri="{FF2B5EF4-FFF2-40B4-BE49-F238E27FC236}">
                      <a16:creationId xmlns:a16="http://schemas.microsoft.com/office/drawing/2014/main" id="{F46B5882-3105-4327-F292-321D3288682B}"/>
                    </a:ext>
                  </a:extLst>
                </p:cNvPr>
                <p:cNvPicPr/>
                <p:nvPr/>
              </p:nvPicPr>
              <p:blipFill>
                <a:blip r:embed="rId245"/>
                <a:stretch>
                  <a:fillRect/>
                </a:stretch>
              </p:blipFill>
              <p:spPr>
                <a:xfrm>
                  <a:off x="8851350" y="4765170"/>
                  <a:ext cx="103680" cy="119160"/>
                </a:xfrm>
                <a:prstGeom prst="rect">
                  <a:avLst/>
                </a:prstGeom>
              </p:spPr>
            </p:pic>
          </mc:Fallback>
        </mc:AlternateContent>
        <mc:AlternateContent xmlns:mc="http://schemas.openxmlformats.org/markup-compatibility/2006" xmlns:p14="http://schemas.microsoft.com/office/powerpoint/2010/main">
          <mc:Choice Requires="p14">
            <p:contentPart p14:bwMode="auto" r:id="rId246">
              <p14:nvContentPartPr>
                <p14:cNvPr id="269" name="Ink 268">
                  <a:extLst>
                    <a:ext uri="{FF2B5EF4-FFF2-40B4-BE49-F238E27FC236}">
                      <a16:creationId xmlns:a16="http://schemas.microsoft.com/office/drawing/2014/main" id="{2D1D0BE2-C583-518D-7EDE-04A69ACC2ED7}"/>
                    </a:ext>
                  </a:extLst>
                </p14:cNvPr>
                <p14:cNvContentPartPr/>
                <p14:nvPr/>
              </p14:nvContentPartPr>
              <p14:xfrm>
                <a:off x="9010470" y="4619370"/>
                <a:ext cx="42480" cy="269640"/>
              </p14:xfrm>
            </p:contentPart>
          </mc:Choice>
          <mc:Fallback xmlns="">
            <p:pic>
              <p:nvPicPr>
                <p:cNvPr id="269" name="Ink 268">
                  <a:extLst>
                    <a:ext uri="{FF2B5EF4-FFF2-40B4-BE49-F238E27FC236}">
                      <a16:creationId xmlns:a16="http://schemas.microsoft.com/office/drawing/2014/main" id="{2D1D0BE2-C583-518D-7EDE-04A69ACC2ED7}"/>
                    </a:ext>
                  </a:extLst>
                </p:cNvPr>
                <p:cNvPicPr/>
                <p:nvPr/>
              </p:nvPicPr>
              <p:blipFill>
                <a:blip r:embed="rId247"/>
                <a:stretch>
                  <a:fillRect/>
                </a:stretch>
              </p:blipFill>
              <p:spPr>
                <a:xfrm>
                  <a:off x="9004350" y="4613250"/>
                  <a:ext cx="54720" cy="281880"/>
                </a:xfrm>
                <a:prstGeom prst="rect">
                  <a:avLst/>
                </a:prstGeom>
              </p:spPr>
            </p:pic>
          </mc:Fallback>
        </mc:AlternateContent>
        <mc:AlternateContent xmlns:mc="http://schemas.openxmlformats.org/markup-compatibility/2006" xmlns:p14="http://schemas.microsoft.com/office/powerpoint/2010/main">
          <mc:Choice Requires="p14">
            <p:contentPart p14:bwMode="auto" r:id="rId248">
              <p14:nvContentPartPr>
                <p14:cNvPr id="270" name="Ink 269">
                  <a:extLst>
                    <a:ext uri="{FF2B5EF4-FFF2-40B4-BE49-F238E27FC236}">
                      <a16:creationId xmlns:a16="http://schemas.microsoft.com/office/drawing/2014/main" id="{71B7DDBD-C99A-A186-4477-DEB32DAA9698}"/>
                    </a:ext>
                  </a:extLst>
                </p14:cNvPr>
                <p14:cNvContentPartPr/>
                <p14:nvPr/>
              </p14:nvContentPartPr>
              <p14:xfrm>
                <a:off x="8962950" y="4710810"/>
                <a:ext cx="97200" cy="4320"/>
              </p14:xfrm>
            </p:contentPart>
          </mc:Choice>
          <mc:Fallback xmlns="">
            <p:pic>
              <p:nvPicPr>
                <p:cNvPr id="270" name="Ink 269">
                  <a:extLst>
                    <a:ext uri="{FF2B5EF4-FFF2-40B4-BE49-F238E27FC236}">
                      <a16:creationId xmlns:a16="http://schemas.microsoft.com/office/drawing/2014/main" id="{71B7DDBD-C99A-A186-4477-DEB32DAA9698}"/>
                    </a:ext>
                  </a:extLst>
                </p:cNvPr>
                <p:cNvPicPr/>
                <p:nvPr/>
              </p:nvPicPr>
              <p:blipFill>
                <a:blip r:embed="rId249"/>
                <a:stretch>
                  <a:fillRect/>
                </a:stretch>
              </p:blipFill>
              <p:spPr>
                <a:xfrm>
                  <a:off x="8956830" y="4704690"/>
                  <a:ext cx="109440" cy="16560"/>
                </a:xfrm>
                <a:prstGeom prst="rect">
                  <a:avLst/>
                </a:prstGeom>
              </p:spPr>
            </p:pic>
          </mc:Fallback>
        </mc:AlternateContent>
        <mc:AlternateContent xmlns:mc="http://schemas.openxmlformats.org/markup-compatibility/2006" xmlns:p14="http://schemas.microsoft.com/office/powerpoint/2010/main">
          <mc:Choice Requires="p14">
            <p:contentPart p14:bwMode="auto" r:id="rId250">
              <p14:nvContentPartPr>
                <p14:cNvPr id="271" name="Ink 270">
                  <a:extLst>
                    <a:ext uri="{FF2B5EF4-FFF2-40B4-BE49-F238E27FC236}">
                      <a16:creationId xmlns:a16="http://schemas.microsoft.com/office/drawing/2014/main" id="{860BEE7F-9110-C494-6227-F1FA5C5115D6}"/>
                    </a:ext>
                  </a:extLst>
                </p14:cNvPr>
                <p14:cNvContentPartPr/>
                <p14:nvPr/>
              </p14:nvContentPartPr>
              <p14:xfrm>
                <a:off x="9115230" y="4750410"/>
                <a:ext cx="135720" cy="155880"/>
              </p14:xfrm>
            </p:contentPart>
          </mc:Choice>
          <mc:Fallback xmlns="">
            <p:pic>
              <p:nvPicPr>
                <p:cNvPr id="271" name="Ink 270">
                  <a:extLst>
                    <a:ext uri="{FF2B5EF4-FFF2-40B4-BE49-F238E27FC236}">
                      <a16:creationId xmlns:a16="http://schemas.microsoft.com/office/drawing/2014/main" id="{860BEE7F-9110-C494-6227-F1FA5C5115D6}"/>
                    </a:ext>
                  </a:extLst>
                </p:cNvPr>
                <p:cNvPicPr/>
                <p:nvPr/>
              </p:nvPicPr>
              <p:blipFill>
                <a:blip r:embed="rId251"/>
                <a:stretch>
                  <a:fillRect/>
                </a:stretch>
              </p:blipFill>
              <p:spPr>
                <a:xfrm>
                  <a:off x="9109110" y="4744290"/>
                  <a:ext cx="147960" cy="168120"/>
                </a:xfrm>
                <a:prstGeom prst="rect">
                  <a:avLst/>
                </a:prstGeom>
              </p:spPr>
            </p:pic>
          </mc:Fallback>
        </mc:AlternateContent>
        <mc:AlternateContent xmlns:mc="http://schemas.openxmlformats.org/markup-compatibility/2006" xmlns:p14="http://schemas.microsoft.com/office/powerpoint/2010/main">
          <mc:Choice Requires="p14">
            <p:contentPart p14:bwMode="auto" r:id="rId252">
              <p14:nvContentPartPr>
                <p14:cNvPr id="273" name="Ink 272">
                  <a:extLst>
                    <a:ext uri="{FF2B5EF4-FFF2-40B4-BE49-F238E27FC236}">
                      <a16:creationId xmlns:a16="http://schemas.microsoft.com/office/drawing/2014/main" id="{EE1FF8BC-4C63-6933-0D2F-45CFDA97EA12}"/>
                    </a:ext>
                  </a:extLst>
                </p14:cNvPr>
                <p14:cNvContentPartPr/>
                <p14:nvPr/>
              </p14:nvContentPartPr>
              <p14:xfrm>
                <a:off x="9305670" y="4764450"/>
                <a:ext cx="109440" cy="141120"/>
              </p14:xfrm>
            </p:contentPart>
          </mc:Choice>
          <mc:Fallback xmlns="">
            <p:pic>
              <p:nvPicPr>
                <p:cNvPr id="273" name="Ink 272">
                  <a:extLst>
                    <a:ext uri="{FF2B5EF4-FFF2-40B4-BE49-F238E27FC236}">
                      <a16:creationId xmlns:a16="http://schemas.microsoft.com/office/drawing/2014/main" id="{EE1FF8BC-4C63-6933-0D2F-45CFDA97EA12}"/>
                    </a:ext>
                  </a:extLst>
                </p:cNvPr>
                <p:cNvPicPr/>
                <p:nvPr/>
              </p:nvPicPr>
              <p:blipFill>
                <a:blip r:embed="rId253"/>
                <a:stretch>
                  <a:fillRect/>
                </a:stretch>
              </p:blipFill>
              <p:spPr>
                <a:xfrm>
                  <a:off x="9299550" y="4758330"/>
                  <a:ext cx="121680" cy="153360"/>
                </a:xfrm>
                <a:prstGeom prst="rect">
                  <a:avLst/>
                </a:prstGeom>
              </p:spPr>
            </p:pic>
          </mc:Fallback>
        </mc:AlternateContent>
        <mc:AlternateContent xmlns:mc="http://schemas.openxmlformats.org/markup-compatibility/2006" xmlns:p14="http://schemas.microsoft.com/office/powerpoint/2010/main">
          <mc:Choice Requires="p14">
            <p:contentPart p14:bwMode="auto" r:id="rId254">
              <p14:nvContentPartPr>
                <p14:cNvPr id="274" name="Ink 273">
                  <a:extLst>
                    <a:ext uri="{FF2B5EF4-FFF2-40B4-BE49-F238E27FC236}">
                      <a16:creationId xmlns:a16="http://schemas.microsoft.com/office/drawing/2014/main" id="{702CCD20-62E9-9AFE-6C3A-A037F944CDA1}"/>
                    </a:ext>
                  </a:extLst>
                </p14:cNvPr>
                <p14:cNvContentPartPr/>
                <p14:nvPr/>
              </p14:nvContentPartPr>
              <p14:xfrm>
                <a:off x="9353550" y="4830690"/>
                <a:ext cx="103680" cy="17640"/>
              </p14:xfrm>
            </p:contentPart>
          </mc:Choice>
          <mc:Fallback xmlns="">
            <p:pic>
              <p:nvPicPr>
                <p:cNvPr id="274" name="Ink 273">
                  <a:extLst>
                    <a:ext uri="{FF2B5EF4-FFF2-40B4-BE49-F238E27FC236}">
                      <a16:creationId xmlns:a16="http://schemas.microsoft.com/office/drawing/2014/main" id="{702CCD20-62E9-9AFE-6C3A-A037F944CDA1}"/>
                    </a:ext>
                  </a:extLst>
                </p:cNvPr>
                <p:cNvPicPr/>
                <p:nvPr/>
              </p:nvPicPr>
              <p:blipFill>
                <a:blip r:embed="rId255"/>
                <a:stretch>
                  <a:fillRect/>
                </a:stretch>
              </p:blipFill>
              <p:spPr>
                <a:xfrm>
                  <a:off x="9347430" y="4824570"/>
                  <a:ext cx="115920" cy="29880"/>
                </a:xfrm>
                <a:prstGeom prst="rect">
                  <a:avLst/>
                </a:prstGeom>
              </p:spPr>
            </p:pic>
          </mc:Fallback>
        </mc:AlternateContent>
        <mc:AlternateContent xmlns:mc="http://schemas.openxmlformats.org/markup-compatibility/2006" xmlns:p14="http://schemas.microsoft.com/office/powerpoint/2010/main">
          <mc:Choice Requires="p14">
            <p:contentPart p14:bwMode="auto" r:id="rId256">
              <p14:nvContentPartPr>
                <p14:cNvPr id="275" name="Ink 274">
                  <a:extLst>
                    <a:ext uri="{FF2B5EF4-FFF2-40B4-BE49-F238E27FC236}">
                      <a16:creationId xmlns:a16="http://schemas.microsoft.com/office/drawing/2014/main" id="{F15816AC-C541-4E1A-AB28-9F89EA52D62A}"/>
                    </a:ext>
                  </a:extLst>
                </p14:cNvPr>
                <p14:cNvContentPartPr/>
                <p14:nvPr/>
              </p14:nvContentPartPr>
              <p14:xfrm>
                <a:off x="9466590" y="4666890"/>
                <a:ext cx="16920" cy="286920"/>
              </p14:xfrm>
            </p:contentPart>
          </mc:Choice>
          <mc:Fallback xmlns="">
            <p:pic>
              <p:nvPicPr>
                <p:cNvPr id="275" name="Ink 274">
                  <a:extLst>
                    <a:ext uri="{FF2B5EF4-FFF2-40B4-BE49-F238E27FC236}">
                      <a16:creationId xmlns:a16="http://schemas.microsoft.com/office/drawing/2014/main" id="{F15816AC-C541-4E1A-AB28-9F89EA52D62A}"/>
                    </a:ext>
                  </a:extLst>
                </p:cNvPr>
                <p:cNvPicPr/>
                <p:nvPr/>
              </p:nvPicPr>
              <p:blipFill>
                <a:blip r:embed="rId257"/>
                <a:stretch>
                  <a:fillRect/>
                </a:stretch>
              </p:blipFill>
              <p:spPr>
                <a:xfrm>
                  <a:off x="9460470" y="4660770"/>
                  <a:ext cx="29160" cy="299160"/>
                </a:xfrm>
                <a:prstGeom prst="rect">
                  <a:avLst/>
                </a:prstGeom>
              </p:spPr>
            </p:pic>
          </mc:Fallback>
        </mc:AlternateContent>
        <mc:AlternateContent xmlns:mc="http://schemas.openxmlformats.org/markup-compatibility/2006" xmlns:p14="http://schemas.microsoft.com/office/powerpoint/2010/main">
          <mc:Choice Requires="p14">
            <p:contentPart p14:bwMode="auto" r:id="rId258">
              <p14:nvContentPartPr>
                <p14:cNvPr id="277" name="Ink 276">
                  <a:extLst>
                    <a:ext uri="{FF2B5EF4-FFF2-40B4-BE49-F238E27FC236}">
                      <a16:creationId xmlns:a16="http://schemas.microsoft.com/office/drawing/2014/main" id="{EC84818B-54A8-112A-4C79-7E8D1F39B869}"/>
                    </a:ext>
                  </a:extLst>
                </p14:cNvPr>
                <p14:cNvContentPartPr/>
                <p14:nvPr/>
              </p14:nvContentPartPr>
              <p14:xfrm>
                <a:off x="9686910" y="4638450"/>
                <a:ext cx="29160" cy="228600"/>
              </p14:xfrm>
            </p:contentPart>
          </mc:Choice>
          <mc:Fallback xmlns="">
            <p:pic>
              <p:nvPicPr>
                <p:cNvPr id="277" name="Ink 276">
                  <a:extLst>
                    <a:ext uri="{FF2B5EF4-FFF2-40B4-BE49-F238E27FC236}">
                      <a16:creationId xmlns:a16="http://schemas.microsoft.com/office/drawing/2014/main" id="{EC84818B-54A8-112A-4C79-7E8D1F39B869}"/>
                    </a:ext>
                  </a:extLst>
                </p:cNvPr>
                <p:cNvPicPr/>
                <p:nvPr/>
              </p:nvPicPr>
              <p:blipFill>
                <a:blip r:embed="rId259"/>
                <a:stretch>
                  <a:fillRect/>
                </a:stretch>
              </p:blipFill>
              <p:spPr>
                <a:xfrm>
                  <a:off x="9680790" y="4632330"/>
                  <a:ext cx="41400" cy="240840"/>
                </a:xfrm>
                <a:prstGeom prst="rect">
                  <a:avLst/>
                </a:prstGeom>
              </p:spPr>
            </p:pic>
          </mc:Fallback>
        </mc:AlternateContent>
        <mc:AlternateContent xmlns:mc="http://schemas.openxmlformats.org/markup-compatibility/2006" xmlns:p14="http://schemas.microsoft.com/office/powerpoint/2010/main">
          <mc:Choice Requires="p14">
            <p:contentPart p14:bwMode="auto" r:id="rId260">
              <p14:nvContentPartPr>
                <p14:cNvPr id="278" name="Ink 277">
                  <a:extLst>
                    <a:ext uri="{FF2B5EF4-FFF2-40B4-BE49-F238E27FC236}">
                      <a16:creationId xmlns:a16="http://schemas.microsoft.com/office/drawing/2014/main" id="{8B736CC8-1838-0B8F-90A0-BC1CCF1C40A2}"/>
                    </a:ext>
                  </a:extLst>
                </p14:cNvPr>
                <p14:cNvContentPartPr/>
                <p14:nvPr/>
              </p14:nvContentPartPr>
              <p14:xfrm>
                <a:off x="9639030" y="4762290"/>
                <a:ext cx="146880" cy="360"/>
              </p14:xfrm>
            </p:contentPart>
          </mc:Choice>
          <mc:Fallback xmlns="">
            <p:pic>
              <p:nvPicPr>
                <p:cNvPr id="278" name="Ink 277">
                  <a:extLst>
                    <a:ext uri="{FF2B5EF4-FFF2-40B4-BE49-F238E27FC236}">
                      <a16:creationId xmlns:a16="http://schemas.microsoft.com/office/drawing/2014/main" id="{8B736CC8-1838-0B8F-90A0-BC1CCF1C40A2}"/>
                    </a:ext>
                  </a:extLst>
                </p:cNvPr>
                <p:cNvPicPr/>
                <p:nvPr/>
              </p:nvPicPr>
              <p:blipFill>
                <a:blip r:embed="rId261"/>
                <a:stretch>
                  <a:fillRect/>
                </a:stretch>
              </p:blipFill>
              <p:spPr>
                <a:xfrm>
                  <a:off x="9632910" y="4756170"/>
                  <a:ext cx="15912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62">
              <p14:nvContentPartPr>
                <p14:cNvPr id="279" name="Ink 278">
                  <a:extLst>
                    <a:ext uri="{FF2B5EF4-FFF2-40B4-BE49-F238E27FC236}">
                      <a16:creationId xmlns:a16="http://schemas.microsoft.com/office/drawing/2014/main" id="{797F4EC8-34F6-438C-5301-3FF556FA98A7}"/>
                    </a:ext>
                  </a:extLst>
                </p14:cNvPr>
                <p14:cNvContentPartPr/>
                <p14:nvPr/>
              </p14:nvContentPartPr>
              <p14:xfrm>
                <a:off x="9734430" y="4847970"/>
                <a:ext cx="10080" cy="57960"/>
              </p14:xfrm>
            </p:contentPart>
          </mc:Choice>
          <mc:Fallback xmlns="">
            <p:pic>
              <p:nvPicPr>
                <p:cNvPr id="279" name="Ink 278">
                  <a:extLst>
                    <a:ext uri="{FF2B5EF4-FFF2-40B4-BE49-F238E27FC236}">
                      <a16:creationId xmlns:a16="http://schemas.microsoft.com/office/drawing/2014/main" id="{797F4EC8-34F6-438C-5301-3FF556FA98A7}"/>
                    </a:ext>
                  </a:extLst>
                </p:cNvPr>
                <p:cNvPicPr/>
                <p:nvPr/>
              </p:nvPicPr>
              <p:blipFill>
                <a:blip r:embed="rId263"/>
                <a:stretch>
                  <a:fillRect/>
                </a:stretch>
              </p:blipFill>
              <p:spPr>
                <a:xfrm>
                  <a:off x="9728310" y="4841850"/>
                  <a:ext cx="22320" cy="70200"/>
                </a:xfrm>
                <a:prstGeom prst="rect">
                  <a:avLst/>
                </a:prstGeom>
              </p:spPr>
            </p:pic>
          </mc:Fallback>
        </mc:AlternateContent>
        <mc:AlternateContent xmlns:mc="http://schemas.openxmlformats.org/markup-compatibility/2006" xmlns:p14="http://schemas.microsoft.com/office/powerpoint/2010/main">
          <mc:Choice Requires="p14">
            <p:contentPart p14:bwMode="auto" r:id="rId264">
              <p14:nvContentPartPr>
                <p14:cNvPr id="281" name="Ink 280">
                  <a:extLst>
                    <a:ext uri="{FF2B5EF4-FFF2-40B4-BE49-F238E27FC236}">
                      <a16:creationId xmlns:a16="http://schemas.microsoft.com/office/drawing/2014/main" id="{2103576F-A2D2-0B20-8419-E659A0329465}"/>
                    </a:ext>
                  </a:extLst>
                </p14:cNvPr>
                <p14:cNvContentPartPr/>
                <p14:nvPr/>
              </p14:nvContentPartPr>
              <p14:xfrm>
                <a:off x="9817950" y="4752210"/>
                <a:ext cx="90360" cy="165960"/>
              </p14:xfrm>
            </p:contentPart>
          </mc:Choice>
          <mc:Fallback xmlns="">
            <p:pic>
              <p:nvPicPr>
                <p:cNvPr id="281" name="Ink 280">
                  <a:extLst>
                    <a:ext uri="{FF2B5EF4-FFF2-40B4-BE49-F238E27FC236}">
                      <a16:creationId xmlns:a16="http://schemas.microsoft.com/office/drawing/2014/main" id="{2103576F-A2D2-0B20-8419-E659A0329465}"/>
                    </a:ext>
                  </a:extLst>
                </p:cNvPr>
                <p:cNvPicPr/>
                <p:nvPr/>
              </p:nvPicPr>
              <p:blipFill>
                <a:blip r:embed="rId265"/>
                <a:stretch>
                  <a:fillRect/>
                </a:stretch>
              </p:blipFill>
              <p:spPr>
                <a:xfrm>
                  <a:off x="9811830" y="4746090"/>
                  <a:ext cx="102600" cy="178200"/>
                </a:xfrm>
                <a:prstGeom prst="rect">
                  <a:avLst/>
                </a:prstGeom>
              </p:spPr>
            </p:pic>
          </mc:Fallback>
        </mc:AlternateContent>
      </p:grpSp>
      <p:grpSp>
        <p:nvGrpSpPr>
          <p:cNvPr id="297" name="Group 296">
            <a:extLst>
              <a:ext uri="{FF2B5EF4-FFF2-40B4-BE49-F238E27FC236}">
                <a16:creationId xmlns:a16="http://schemas.microsoft.com/office/drawing/2014/main" id="{7F91BC4E-5CAA-60BD-8636-64138F800644}"/>
              </a:ext>
            </a:extLst>
          </p:cNvPr>
          <p:cNvGrpSpPr/>
          <p:nvPr/>
        </p:nvGrpSpPr>
        <p:grpSpPr>
          <a:xfrm>
            <a:off x="10077510" y="4745010"/>
            <a:ext cx="905760" cy="226800"/>
            <a:chOff x="10077510" y="4745010"/>
            <a:chExt cx="905760" cy="226800"/>
          </a:xfrm>
        </p:grpSpPr>
        <mc:AlternateContent xmlns:mc="http://schemas.openxmlformats.org/markup-compatibility/2006" xmlns:p14="http://schemas.microsoft.com/office/powerpoint/2010/main">
          <mc:Choice Requires="p14">
            <p:contentPart p14:bwMode="auto" r:id="rId266">
              <p14:nvContentPartPr>
                <p14:cNvPr id="283" name="Ink 282">
                  <a:extLst>
                    <a:ext uri="{FF2B5EF4-FFF2-40B4-BE49-F238E27FC236}">
                      <a16:creationId xmlns:a16="http://schemas.microsoft.com/office/drawing/2014/main" id="{F1A44283-0239-E4B7-2851-53A5A3F2E214}"/>
                    </a:ext>
                  </a:extLst>
                </p14:cNvPr>
                <p14:cNvContentPartPr/>
                <p14:nvPr/>
              </p14:nvContentPartPr>
              <p14:xfrm>
                <a:off x="10077510" y="4771650"/>
                <a:ext cx="119880" cy="145800"/>
              </p14:xfrm>
            </p:contentPart>
          </mc:Choice>
          <mc:Fallback xmlns="">
            <p:pic>
              <p:nvPicPr>
                <p:cNvPr id="283" name="Ink 282">
                  <a:extLst>
                    <a:ext uri="{FF2B5EF4-FFF2-40B4-BE49-F238E27FC236}">
                      <a16:creationId xmlns:a16="http://schemas.microsoft.com/office/drawing/2014/main" id="{F1A44283-0239-E4B7-2851-53A5A3F2E214}"/>
                    </a:ext>
                  </a:extLst>
                </p:cNvPr>
                <p:cNvPicPr/>
                <p:nvPr/>
              </p:nvPicPr>
              <p:blipFill>
                <a:blip r:embed="rId267"/>
                <a:stretch>
                  <a:fillRect/>
                </a:stretch>
              </p:blipFill>
              <p:spPr>
                <a:xfrm>
                  <a:off x="10071390" y="4765530"/>
                  <a:ext cx="132120" cy="158040"/>
                </a:xfrm>
                <a:prstGeom prst="rect">
                  <a:avLst/>
                </a:prstGeom>
              </p:spPr>
            </p:pic>
          </mc:Fallback>
        </mc:AlternateContent>
        <mc:AlternateContent xmlns:mc="http://schemas.openxmlformats.org/markup-compatibility/2006" xmlns:p14="http://schemas.microsoft.com/office/powerpoint/2010/main">
          <mc:Choice Requires="p14">
            <p:contentPart p14:bwMode="auto" r:id="rId268">
              <p14:nvContentPartPr>
                <p14:cNvPr id="284" name="Ink 283">
                  <a:extLst>
                    <a:ext uri="{FF2B5EF4-FFF2-40B4-BE49-F238E27FC236}">
                      <a16:creationId xmlns:a16="http://schemas.microsoft.com/office/drawing/2014/main" id="{6A380D34-8F29-AB80-7391-0E7B5D582D12}"/>
                    </a:ext>
                  </a:extLst>
                </p14:cNvPr>
                <p14:cNvContentPartPr/>
                <p14:nvPr/>
              </p14:nvContentPartPr>
              <p14:xfrm>
                <a:off x="10105950" y="4762290"/>
                <a:ext cx="51120" cy="360"/>
              </p14:xfrm>
            </p:contentPart>
          </mc:Choice>
          <mc:Fallback xmlns="">
            <p:pic>
              <p:nvPicPr>
                <p:cNvPr id="284" name="Ink 283">
                  <a:extLst>
                    <a:ext uri="{FF2B5EF4-FFF2-40B4-BE49-F238E27FC236}">
                      <a16:creationId xmlns:a16="http://schemas.microsoft.com/office/drawing/2014/main" id="{6A380D34-8F29-AB80-7391-0E7B5D582D12}"/>
                    </a:ext>
                  </a:extLst>
                </p:cNvPr>
                <p:cNvPicPr/>
                <p:nvPr/>
              </p:nvPicPr>
              <p:blipFill>
                <a:blip r:embed="rId269"/>
                <a:stretch>
                  <a:fillRect/>
                </a:stretch>
              </p:blipFill>
              <p:spPr>
                <a:xfrm>
                  <a:off x="10099830" y="4756170"/>
                  <a:ext cx="6336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70">
              <p14:nvContentPartPr>
                <p14:cNvPr id="285" name="Ink 284">
                  <a:extLst>
                    <a:ext uri="{FF2B5EF4-FFF2-40B4-BE49-F238E27FC236}">
                      <a16:creationId xmlns:a16="http://schemas.microsoft.com/office/drawing/2014/main" id="{1F37CBB8-4F0F-7C4E-7910-DE26DCEA9B45}"/>
                    </a:ext>
                  </a:extLst>
                </p14:cNvPr>
                <p14:cNvContentPartPr/>
                <p14:nvPr/>
              </p14:nvContentPartPr>
              <p14:xfrm>
                <a:off x="10105950" y="4838610"/>
                <a:ext cx="87120" cy="15480"/>
              </p14:xfrm>
            </p:contentPart>
          </mc:Choice>
          <mc:Fallback xmlns="">
            <p:pic>
              <p:nvPicPr>
                <p:cNvPr id="285" name="Ink 284">
                  <a:extLst>
                    <a:ext uri="{FF2B5EF4-FFF2-40B4-BE49-F238E27FC236}">
                      <a16:creationId xmlns:a16="http://schemas.microsoft.com/office/drawing/2014/main" id="{1F37CBB8-4F0F-7C4E-7910-DE26DCEA9B45}"/>
                    </a:ext>
                  </a:extLst>
                </p:cNvPr>
                <p:cNvPicPr/>
                <p:nvPr/>
              </p:nvPicPr>
              <p:blipFill>
                <a:blip r:embed="rId271"/>
                <a:stretch>
                  <a:fillRect/>
                </a:stretch>
              </p:blipFill>
              <p:spPr>
                <a:xfrm>
                  <a:off x="10099830" y="4832490"/>
                  <a:ext cx="99360" cy="27720"/>
                </a:xfrm>
                <a:prstGeom prst="rect">
                  <a:avLst/>
                </a:prstGeom>
              </p:spPr>
            </p:pic>
          </mc:Fallback>
        </mc:AlternateContent>
        <mc:AlternateContent xmlns:mc="http://schemas.openxmlformats.org/markup-compatibility/2006" xmlns:p14="http://schemas.microsoft.com/office/powerpoint/2010/main">
          <mc:Choice Requires="p14">
            <p:contentPart p14:bwMode="auto" r:id="rId272">
              <p14:nvContentPartPr>
                <p14:cNvPr id="286" name="Ink 285">
                  <a:extLst>
                    <a:ext uri="{FF2B5EF4-FFF2-40B4-BE49-F238E27FC236}">
                      <a16:creationId xmlns:a16="http://schemas.microsoft.com/office/drawing/2014/main" id="{3C878BCB-1E68-ED2C-0B5E-2ED0EAE59B60}"/>
                    </a:ext>
                  </a:extLst>
                </p14:cNvPr>
                <p14:cNvContentPartPr/>
                <p14:nvPr/>
              </p14:nvContentPartPr>
              <p14:xfrm>
                <a:off x="10258230" y="4746090"/>
                <a:ext cx="97920" cy="165240"/>
              </p14:xfrm>
            </p:contentPart>
          </mc:Choice>
          <mc:Fallback xmlns="">
            <p:pic>
              <p:nvPicPr>
                <p:cNvPr id="286" name="Ink 285">
                  <a:extLst>
                    <a:ext uri="{FF2B5EF4-FFF2-40B4-BE49-F238E27FC236}">
                      <a16:creationId xmlns:a16="http://schemas.microsoft.com/office/drawing/2014/main" id="{3C878BCB-1E68-ED2C-0B5E-2ED0EAE59B60}"/>
                    </a:ext>
                  </a:extLst>
                </p:cNvPr>
                <p:cNvPicPr/>
                <p:nvPr/>
              </p:nvPicPr>
              <p:blipFill>
                <a:blip r:embed="rId273"/>
                <a:stretch>
                  <a:fillRect/>
                </a:stretch>
              </p:blipFill>
              <p:spPr>
                <a:xfrm>
                  <a:off x="10252110" y="4739970"/>
                  <a:ext cx="110160" cy="177480"/>
                </a:xfrm>
                <a:prstGeom prst="rect">
                  <a:avLst/>
                </a:prstGeom>
              </p:spPr>
            </p:pic>
          </mc:Fallback>
        </mc:AlternateContent>
        <mc:AlternateContent xmlns:mc="http://schemas.openxmlformats.org/markup-compatibility/2006" xmlns:p14="http://schemas.microsoft.com/office/powerpoint/2010/main">
          <mc:Choice Requires="p14">
            <p:contentPart p14:bwMode="auto" r:id="rId274">
              <p14:nvContentPartPr>
                <p14:cNvPr id="287" name="Ink 286">
                  <a:extLst>
                    <a:ext uri="{FF2B5EF4-FFF2-40B4-BE49-F238E27FC236}">
                      <a16:creationId xmlns:a16="http://schemas.microsoft.com/office/drawing/2014/main" id="{F90B56A8-01AA-0EC0-FB2D-7E1DC012BDB0}"/>
                    </a:ext>
                  </a:extLst>
                </p14:cNvPr>
                <p14:cNvContentPartPr/>
                <p14:nvPr/>
              </p14:nvContentPartPr>
              <p14:xfrm>
                <a:off x="10277310" y="4847970"/>
                <a:ext cx="51480" cy="360"/>
              </p14:xfrm>
            </p:contentPart>
          </mc:Choice>
          <mc:Fallback xmlns="">
            <p:pic>
              <p:nvPicPr>
                <p:cNvPr id="287" name="Ink 286">
                  <a:extLst>
                    <a:ext uri="{FF2B5EF4-FFF2-40B4-BE49-F238E27FC236}">
                      <a16:creationId xmlns:a16="http://schemas.microsoft.com/office/drawing/2014/main" id="{F90B56A8-01AA-0EC0-FB2D-7E1DC012BDB0}"/>
                    </a:ext>
                  </a:extLst>
                </p:cNvPr>
                <p:cNvPicPr/>
                <p:nvPr/>
              </p:nvPicPr>
              <p:blipFill>
                <a:blip r:embed="rId275"/>
                <a:stretch>
                  <a:fillRect/>
                </a:stretch>
              </p:blipFill>
              <p:spPr>
                <a:xfrm>
                  <a:off x="10271190" y="4841850"/>
                  <a:ext cx="6372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76">
              <p14:nvContentPartPr>
                <p14:cNvPr id="288" name="Ink 287">
                  <a:extLst>
                    <a:ext uri="{FF2B5EF4-FFF2-40B4-BE49-F238E27FC236}">
                      <a16:creationId xmlns:a16="http://schemas.microsoft.com/office/drawing/2014/main" id="{70725415-8251-8DD5-7152-2C8629A8F383}"/>
                    </a:ext>
                  </a:extLst>
                </p14:cNvPr>
                <p14:cNvContentPartPr/>
                <p14:nvPr/>
              </p14:nvContentPartPr>
              <p14:xfrm>
                <a:off x="10398630" y="4745010"/>
                <a:ext cx="106920" cy="180360"/>
              </p14:xfrm>
            </p:contentPart>
          </mc:Choice>
          <mc:Fallback xmlns="">
            <p:pic>
              <p:nvPicPr>
                <p:cNvPr id="288" name="Ink 287">
                  <a:extLst>
                    <a:ext uri="{FF2B5EF4-FFF2-40B4-BE49-F238E27FC236}">
                      <a16:creationId xmlns:a16="http://schemas.microsoft.com/office/drawing/2014/main" id="{70725415-8251-8DD5-7152-2C8629A8F383}"/>
                    </a:ext>
                  </a:extLst>
                </p:cNvPr>
                <p:cNvPicPr/>
                <p:nvPr/>
              </p:nvPicPr>
              <p:blipFill>
                <a:blip r:embed="rId277"/>
                <a:stretch>
                  <a:fillRect/>
                </a:stretch>
              </p:blipFill>
              <p:spPr>
                <a:xfrm>
                  <a:off x="10392510" y="4738890"/>
                  <a:ext cx="119160" cy="192600"/>
                </a:xfrm>
                <a:prstGeom prst="rect">
                  <a:avLst/>
                </a:prstGeom>
              </p:spPr>
            </p:pic>
          </mc:Fallback>
        </mc:AlternateContent>
        <mc:AlternateContent xmlns:mc="http://schemas.openxmlformats.org/markup-compatibility/2006" xmlns:p14="http://schemas.microsoft.com/office/powerpoint/2010/main">
          <mc:Choice Requires="p14">
            <p:contentPart p14:bwMode="auto" r:id="rId278">
              <p14:nvContentPartPr>
                <p14:cNvPr id="289" name="Ink 288">
                  <a:extLst>
                    <a:ext uri="{FF2B5EF4-FFF2-40B4-BE49-F238E27FC236}">
                      <a16:creationId xmlns:a16="http://schemas.microsoft.com/office/drawing/2014/main" id="{49565E2C-0C43-9F74-D8B5-6AD60B0608C6}"/>
                    </a:ext>
                  </a:extLst>
                </p14:cNvPr>
                <p14:cNvContentPartPr/>
                <p14:nvPr/>
              </p14:nvContentPartPr>
              <p14:xfrm>
                <a:off x="10563150" y="4790010"/>
                <a:ext cx="97920" cy="134640"/>
              </p14:xfrm>
            </p:contentPart>
          </mc:Choice>
          <mc:Fallback xmlns="">
            <p:pic>
              <p:nvPicPr>
                <p:cNvPr id="289" name="Ink 288">
                  <a:extLst>
                    <a:ext uri="{FF2B5EF4-FFF2-40B4-BE49-F238E27FC236}">
                      <a16:creationId xmlns:a16="http://schemas.microsoft.com/office/drawing/2014/main" id="{49565E2C-0C43-9F74-D8B5-6AD60B0608C6}"/>
                    </a:ext>
                  </a:extLst>
                </p:cNvPr>
                <p:cNvPicPr/>
                <p:nvPr/>
              </p:nvPicPr>
              <p:blipFill>
                <a:blip r:embed="rId279"/>
                <a:stretch>
                  <a:fillRect/>
                </a:stretch>
              </p:blipFill>
              <p:spPr>
                <a:xfrm>
                  <a:off x="10557030" y="4783890"/>
                  <a:ext cx="110160" cy="146880"/>
                </a:xfrm>
                <a:prstGeom prst="rect">
                  <a:avLst/>
                </a:prstGeom>
              </p:spPr>
            </p:pic>
          </mc:Fallback>
        </mc:AlternateContent>
        <mc:AlternateContent xmlns:mc="http://schemas.openxmlformats.org/markup-compatibility/2006" xmlns:p14="http://schemas.microsoft.com/office/powerpoint/2010/main">
          <mc:Choice Requires="p14">
            <p:contentPart p14:bwMode="auto" r:id="rId280">
              <p14:nvContentPartPr>
                <p14:cNvPr id="291" name="Ink 290">
                  <a:extLst>
                    <a:ext uri="{FF2B5EF4-FFF2-40B4-BE49-F238E27FC236}">
                      <a16:creationId xmlns:a16="http://schemas.microsoft.com/office/drawing/2014/main" id="{C5B64B0F-6A0F-FFB5-0BCA-A23EE694E734}"/>
                    </a:ext>
                  </a:extLst>
                </p14:cNvPr>
                <p14:cNvContentPartPr/>
                <p14:nvPr/>
              </p14:nvContentPartPr>
              <p14:xfrm>
                <a:off x="10696350" y="4771650"/>
                <a:ext cx="127440" cy="168480"/>
              </p14:xfrm>
            </p:contentPart>
          </mc:Choice>
          <mc:Fallback xmlns="">
            <p:pic>
              <p:nvPicPr>
                <p:cNvPr id="291" name="Ink 290">
                  <a:extLst>
                    <a:ext uri="{FF2B5EF4-FFF2-40B4-BE49-F238E27FC236}">
                      <a16:creationId xmlns:a16="http://schemas.microsoft.com/office/drawing/2014/main" id="{C5B64B0F-6A0F-FFB5-0BCA-A23EE694E734}"/>
                    </a:ext>
                  </a:extLst>
                </p:cNvPr>
                <p:cNvPicPr/>
                <p:nvPr/>
              </p:nvPicPr>
              <p:blipFill>
                <a:blip r:embed="rId281"/>
                <a:stretch>
                  <a:fillRect/>
                </a:stretch>
              </p:blipFill>
              <p:spPr>
                <a:xfrm>
                  <a:off x="10690230" y="4765530"/>
                  <a:ext cx="139680" cy="180720"/>
                </a:xfrm>
                <a:prstGeom prst="rect">
                  <a:avLst/>
                </a:prstGeom>
              </p:spPr>
            </p:pic>
          </mc:Fallback>
        </mc:AlternateContent>
        <mc:AlternateContent xmlns:mc="http://schemas.openxmlformats.org/markup-compatibility/2006" xmlns:p14="http://schemas.microsoft.com/office/powerpoint/2010/main">
          <mc:Choice Requires="p14">
            <p:contentPart p14:bwMode="auto" r:id="rId282">
              <p14:nvContentPartPr>
                <p14:cNvPr id="292" name="Ink 291">
                  <a:extLst>
                    <a:ext uri="{FF2B5EF4-FFF2-40B4-BE49-F238E27FC236}">
                      <a16:creationId xmlns:a16="http://schemas.microsoft.com/office/drawing/2014/main" id="{A74D9D58-EEE7-CDF3-DFF4-E1507E30E095}"/>
                    </a:ext>
                  </a:extLst>
                </p14:cNvPr>
                <p14:cNvContentPartPr/>
                <p14:nvPr/>
              </p14:nvContentPartPr>
              <p14:xfrm>
                <a:off x="10734510" y="4847970"/>
                <a:ext cx="68760" cy="360"/>
              </p14:xfrm>
            </p:contentPart>
          </mc:Choice>
          <mc:Fallback xmlns="">
            <p:pic>
              <p:nvPicPr>
                <p:cNvPr id="292" name="Ink 291">
                  <a:extLst>
                    <a:ext uri="{FF2B5EF4-FFF2-40B4-BE49-F238E27FC236}">
                      <a16:creationId xmlns:a16="http://schemas.microsoft.com/office/drawing/2014/main" id="{A74D9D58-EEE7-CDF3-DFF4-E1507E30E095}"/>
                    </a:ext>
                  </a:extLst>
                </p:cNvPr>
                <p:cNvPicPr/>
                <p:nvPr/>
              </p:nvPicPr>
              <p:blipFill>
                <a:blip r:embed="rId283"/>
                <a:stretch>
                  <a:fillRect/>
                </a:stretch>
              </p:blipFill>
              <p:spPr>
                <a:xfrm>
                  <a:off x="10728390" y="4841850"/>
                  <a:ext cx="8100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284">
              <p14:nvContentPartPr>
                <p14:cNvPr id="294" name="Ink 293">
                  <a:extLst>
                    <a:ext uri="{FF2B5EF4-FFF2-40B4-BE49-F238E27FC236}">
                      <a16:creationId xmlns:a16="http://schemas.microsoft.com/office/drawing/2014/main" id="{85980DFC-9653-41FD-B526-A6DDAF95C39D}"/>
                    </a:ext>
                  </a:extLst>
                </p14:cNvPr>
                <p14:cNvContentPartPr/>
                <p14:nvPr/>
              </p14:nvContentPartPr>
              <p14:xfrm>
                <a:off x="10715430" y="4781370"/>
                <a:ext cx="100440" cy="23760"/>
              </p14:xfrm>
            </p:contentPart>
          </mc:Choice>
          <mc:Fallback xmlns="">
            <p:pic>
              <p:nvPicPr>
                <p:cNvPr id="294" name="Ink 293">
                  <a:extLst>
                    <a:ext uri="{FF2B5EF4-FFF2-40B4-BE49-F238E27FC236}">
                      <a16:creationId xmlns:a16="http://schemas.microsoft.com/office/drawing/2014/main" id="{85980DFC-9653-41FD-B526-A6DDAF95C39D}"/>
                    </a:ext>
                  </a:extLst>
                </p:cNvPr>
                <p:cNvPicPr/>
                <p:nvPr/>
              </p:nvPicPr>
              <p:blipFill>
                <a:blip r:embed="rId285"/>
                <a:stretch>
                  <a:fillRect/>
                </a:stretch>
              </p:blipFill>
              <p:spPr>
                <a:xfrm>
                  <a:off x="10709310" y="4775250"/>
                  <a:ext cx="11268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286">
              <p14:nvContentPartPr>
                <p14:cNvPr id="295" name="Ink 294">
                  <a:extLst>
                    <a:ext uri="{FF2B5EF4-FFF2-40B4-BE49-F238E27FC236}">
                      <a16:creationId xmlns:a16="http://schemas.microsoft.com/office/drawing/2014/main" id="{F01FBA1F-DE8D-D271-76B1-E74D58C87276}"/>
                    </a:ext>
                  </a:extLst>
                </p14:cNvPr>
                <p14:cNvContentPartPr/>
                <p14:nvPr/>
              </p14:nvContentPartPr>
              <p14:xfrm>
                <a:off x="10869870" y="4800450"/>
                <a:ext cx="17280" cy="166680"/>
              </p14:xfrm>
            </p:contentPart>
          </mc:Choice>
          <mc:Fallback xmlns="">
            <p:pic>
              <p:nvPicPr>
                <p:cNvPr id="295" name="Ink 294">
                  <a:extLst>
                    <a:ext uri="{FF2B5EF4-FFF2-40B4-BE49-F238E27FC236}">
                      <a16:creationId xmlns:a16="http://schemas.microsoft.com/office/drawing/2014/main" id="{F01FBA1F-DE8D-D271-76B1-E74D58C87276}"/>
                    </a:ext>
                  </a:extLst>
                </p:cNvPr>
                <p:cNvPicPr/>
                <p:nvPr/>
              </p:nvPicPr>
              <p:blipFill>
                <a:blip r:embed="rId287"/>
                <a:stretch>
                  <a:fillRect/>
                </a:stretch>
              </p:blipFill>
              <p:spPr>
                <a:xfrm>
                  <a:off x="10863750" y="4794330"/>
                  <a:ext cx="29520" cy="178920"/>
                </a:xfrm>
                <a:prstGeom prst="rect">
                  <a:avLst/>
                </a:prstGeom>
              </p:spPr>
            </p:pic>
          </mc:Fallback>
        </mc:AlternateContent>
        <mc:AlternateContent xmlns:mc="http://schemas.openxmlformats.org/markup-compatibility/2006" xmlns:p14="http://schemas.microsoft.com/office/powerpoint/2010/main">
          <mc:Choice Requires="p14">
            <p:contentPart p14:bwMode="auto" r:id="rId288">
              <p14:nvContentPartPr>
                <p14:cNvPr id="296" name="Ink 295">
                  <a:extLst>
                    <a:ext uri="{FF2B5EF4-FFF2-40B4-BE49-F238E27FC236}">
                      <a16:creationId xmlns:a16="http://schemas.microsoft.com/office/drawing/2014/main" id="{71B0A1C7-C2EF-D420-01FE-1221019B5328}"/>
                    </a:ext>
                  </a:extLst>
                </p14:cNvPr>
                <p14:cNvContentPartPr/>
                <p14:nvPr/>
              </p14:nvContentPartPr>
              <p14:xfrm>
                <a:off x="10887150" y="4790730"/>
                <a:ext cx="96120" cy="181080"/>
              </p14:xfrm>
            </p:contentPart>
          </mc:Choice>
          <mc:Fallback xmlns="">
            <p:pic>
              <p:nvPicPr>
                <p:cNvPr id="296" name="Ink 295">
                  <a:extLst>
                    <a:ext uri="{FF2B5EF4-FFF2-40B4-BE49-F238E27FC236}">
                      <a16:creationId xmlns:a16="http://schemas.microsoft.com/office/drawing/2014/main" id="{71B0A1C7-C2EF-D420-01FE-1221019B5328}"/>
                    </a:ext>
                  </a:extLst>
                </p:cNvPr>
                <p:cNvPicPr/>
                <p:nvPr/>
              </p:nvPicPr>
              <p:blipFill>
                <a:blip r:embed="rId289"/>
                <a:stretch>
                  <a:fillRect/>
                </a:stretch>
              </p:blipFill>
              <p:spPr>
                <a:xfrm>
                  <a:off x="10881030" y="4784610"/>
                  <a:ext cx="108360" cy="193320"/>
                </a:xfrm>
                <a:prstGeom prst="rect">
                  <a:avLst/>
                </a:prstGeom>
              </p:spPr>
            </p:pic>
          </mc:Fallback>
        </mc:AlternateContent>
      </p:grpSp>
      <p:grpSp>
        <p:nvGrpSpPr>
          <p:cNvPr id="304" name="Group 303">
            <a:extLst>
              <a:ext uri="{FF2B5EF4-FFF2-40B4-BE49-F238E27FC236}">
                <a16:creationId xmlns:a16="http://schemas.microsoft.com/office/drawing/2014/main" id="{8B83FF08-201E-3DAF-2E0D-ED9B141CF84B}"/>
              </a:ext>
            </a:extLst>
          </p:cNvPr>
          <p:cNvGrpSpPr/>
          <p:nvPr/>
        </p:nvGrpSpPr>
        <p:grpSpPr>
          <a:xfrm>
            <a:off x="7591350" y="1530930"/>
            <a:ext cx="496440" cy="1279080"/>
            <a:chOff x="7591350" y="1530930"/>
            <a:chExt cx="496440" cy="1279080"/>
          </a:xfrm>
        </p:grpSpPr>
        <mc:AlternateContent xmlns:mc="http://schemas.openxmlformats.org/markup-compatibility/2006" xmlns:p14="http://schemas.microsoft.com/office/powerpoint/2010/main">
          <mc:Choice Requires="p14">
            <p:contentPart p14:bwMode="auto" r:id="rId290">
              <p14:nvContentPartPr>
                <p14:cNvPr id="298" name="Ink 297">
                  <a:extLst>
                    <a:ext uri="{FF2B5EF4-FFF2-40B4-BE49-F238E27FC236}">
                      <a16:creationId xmlns:a16="http://schemas.microsoft.com/office/drawing/2014/main" id="{CF130ACB-027E-DD6D-BAD1-27D521B20A4C}"/>
                    </a:ext>
                  </a:extLst>
                </p14:cNvPr>
                <p14:cNvContentPartPr/>
                <p14:nvPr/>
              </p14:nvContentPartPr>
              <p14:xfrm>
                <a:off x="7591710" y="1530930"/>
                <a:ext cx="496080" cy="1279080"/>
              </p14:xfrm>
            </p:contentPart>
          </mc:Choice>
          <mc:Fallback xmlns="">
            <p:pic>
              <p:nvPicPr>
                <p:cNvPr id="298" name="Ink 297">
                  <a:extLst>
                    <a:ext uri="{FF2B5EF4-FFF2-40B4-BE49-F238E27FC236}">
                      <a16:creationId xmlns:a16="http://schemas.microsoft.com/office/drawing/2014/main" id="{CF130ACB-027E-DD6D-BAD1-27D521B20A4C}"/>
                    </a:ext>
                  </a:extLst>
                </p:cNvPr>
                <p:cNvPicPr/>
                <p:nvPr/>
              </p:nvPicPr>
              <p:blipFill>
                <a:blip r:embed="rId291"/>
                <a:stretch>
                  <a:fillRect/>
                </a:stretch>
              </p:blipFill>
              <p:spPr>
                <a:xfrm>
                  <a:off x="7585590" y="1524810"/>
                  <a:ext cx="508320" cy="1291320"/>
                </a:xfrm>
                <a:prstGeom prst="rect">
                  <a:avLst/>
                </a:prstGeom>
              </p:spPr>
            </p:pic>
          </mc:Fallback>
        </mc:AlternateContent>
        <mc:AlternateContent xmlns:mc="http://schemas.openxmlformats.org/markup-compatibility/2006" xmlns:p14="http://schemas.microsoft.com/office/powerpoint/2010/main">
          <mc:Choice Requires="p14">
            <p:contentPart p14:bwMode="auto" r:id="rId292">
              <p14:nvContentPartPr>
                <p14:cNvPr id="299" name="Ink 298">
                  <a:extLst>
                    <a:ext uri="{FF2B5EF4-FFF2-40B4-BE49-F238E27FC236}">
                      <a16:creationId xmlns:a16="http://schemas.microsoft.com/office/drawing/2014/main" id="{A6B99748-2F99-15A5-0D90-289437B4AA20}"/>
                    </a:ext>
                  </a:extLst>
                </p14:cNvPr>
                <p14:cNvContentPartPr/>
                <p14:nvPr/>
              </p14:nvContentPartPr>
              <p14:xfrm>
                <a:off x="7619790" y="1590330"/>
                <a:ext cx="26640" cy="29520"/>
              </p14:xfrm>
            </p:contentPart>
          </mc:Choice>
          <mc:Fallback xmlns="">
            <p:pic>
              <p:nvPicPr>
                <p:cNvPr id="299" name="Ink 298">
                  <a:extLst>
                    <a:ext uri="{FF2B5EF4-FFF2-40B4-BE49-F238E27FC236}">
                      <a16:creationId xmlns:a16="http://schemas.microsoft.com/office/drawing/2014/main" id="{A6B99748-2F99-15A5-0D90-289437B4AA20}"/>
                    </a:ext>
                  </a:extLst>
                </p:cNvPr>
                <p:cNvPicPr/>
                <p:nvPr/>
              </p:nvPicPr>
              <p:blipFill>
                <a:blip r:embed="rId293"/>
                <a:stretch>
                  <a:fillRect/>
                </a:stretch>
              </p:blipFill>
              <p:spPr>
                <a:xfrm>
                  <a:off x="7613670" y="1584210"/>
                  <a:ext cx="38880" cy="41760"/>
                </a:xfrm>
                <a:prstGeom prst="rect">
                  <a:avLst/>
                </a:prstGeom>
              </p:spPr>
            </p:pic>
          </mc:Fallback>
        </mc:AlternateContent>
        <mc:AlternateContent xmlns:mc="http://schemas.openxmlformats.org/markup-compatibility/2006" xmlns:p14="http://schemas.microsoft.com/office/powerpoint/2010/main">
          <mc:Choice Requires="p14">
            <p:contentPart p14:bwMode="auto" r:id="rId294">
              <p14:nvContentPartPr>
                <p14:cNvPr id="301" name="Ink 300">
                  <a:extLst>
                    <a:ext uri="{FF2B5EF4-FFF2-40B4-BE49-F238E27FC236}">
                      <a16:creationId xmlns:a16="http://schemas.microsoft.com/office/drawing/2014/main" id="{FF98FF71-0B30-1F39-3AE5-4785CD136DB6}"/>
                    </a:ext>
                  </a:extLst>
                </p14:cNvPr>
                <p14:cNvContentPartPr/>
                <p14:nvPr/>
              </p14:nvContentPartPr>
              <p14:xfrm>
                <a:off x="7591350" y="1571250"/>
                <a:ext cx="108000" cy="79200"/>
              </p14:xfrm>
            </p:contentPart>
          </mc:Choice>
          <mc:Fallback xmlns="">
            <p:pic>
              <p:nvPicPr>
                <p:cNvPr id="301" name="Ink 300">
                  <a:extLst>
                    <a:ext uri="{FF2B5EF4-FFF2-40B4-BE49-F238E27FC236}">
                      <a16:creationId xmlns:a16="http://schemas.microsoft.com/office/drawing/2014/main" id="{FF98FF71-0B30-1F39-3AE5-4785CD136DB6}"/>
                    </a:ext>
                  </a:extLst>
                </p:cNvPr>
                <p:cNvPicPr/>
                <p:nvPr/>
              </p:nvPicPr>
              <p:blipFill>
                <a:blip r:embed="rId295"/>
                <a:stretch>
                  <a:fillRect/>
                </a:stretch>
              </p:blipFill>
              <p:spPr>
                <a:xfrm>
                  <a:off x="7585230" y="1565130"/>
                  <a:ext cx="120240" cy="91440"/>
                </a:xfrm>
                <a:prstGeom prst="rect">
                  <a:avLst/>
                </a:prstGeom>
              </p:spPr>
            </p:pic>
          </mc:Fallback>
        </mc:AlternateContent>
        <mc:AlternateContent xmlns:mc="http://schemas.openxmlformats.org/markup-compatibility/2006" xmlns:p14="http://schemas.microsoft.com/office/powerpoint/2010/main">
          <mc:Choice Requires="p14">
            <p:contentPart p14:bwMode="auto" r:id="rId296">
              <p14:nvContentPartPr>
                <p14:cNvPr id="303" name="Ink 302">
                  <a:extLst>
                    <a:ext uri="{FF2B5EF4-FFF2-40B4-BE49-F238E27FC236}">
                      <a16:creationId xmlns:a16="http://schemas.microsoft.com/office/drawing/2014/main" id="{31BC2F77-8973-5FB3-F1E2-B17BBAF612A4}"/>
                    </a:ext>
                  </a:extLst>
                </p14:cNvPr>
                <p14:cNvContentPartPr/>
                <p14:nvPr/>
              </p14:nvContentPartPr>
              <p14:xfrm>
                <a:off x="7591350" y="1537770"/>
                <a:ext cx="70200" cy="24480"/>
              </p14:xfrm>
            </p:contentPart>
          </mc:Choice>
          <mc:Fallback xmlns="">
            <p:pic>
              <p:nvPicPr>
                <p:cNvPr id="303" name="Ink 302">
                  <a:extLst>
                    <a:ext uri="{FF2B5EF4-FFF2-40B4-BE49-F238E27FC236}">
                      <a16:creationId xmlns:a16="http://schemas.microsoft.com/office/drawing/2014/main" id="{31BC2F77-8973-5FB3-F1E2-B17BBAF612A4}"/>
                    </a:ext>
                  </a:extLst>
                </p:cNvPr>
                <p:cNvPicPr/>
                <p:nvPr/>
              </p:nvPicPr>
              <p:blipFill>
                <a:blip r:embed="rId297"/>
                <a:stretch>
                  <a:fillRect/>
                </a:stretch>
              </p:blipFill>
              <p:spPr>
                <a:xfrm>
                  <a:off x="7585230" y="1531650"/>
                  <a:ext cx="82440" cy="36720"/>
                </a:xfrm>
                <a:prstGeom prst="rect">
                  <a:avLst/>
                </a:prstGeom>
              </p:spPr>
            </p:pic>
          </mc:Fallback>
        </mc:AlternateContent>
      </p:grpSp>
      <p:grpSp>
        <p:nvGrpSpPr>
          <p:cNvPr id="307" name="Group 306">
            <a:extLst>
              <a:ext uri="{FF2B5EF4-FFF2-40B4-BE49-F238E27FC236}">
                <a16:creationId xmlns:a16="http://schemas.microsoft.com/office/drawing/2014/main" id="{C6AC3528-EEBF-0012-9BDD-DC4FD468FC6B}"/>
              </a:ext>
            </a:extLst>
          </p:cNvPr>
          <p:cNvGrpSpPr/>
          <p:nvPr/>
        </p:nvGrpSpPr>
        <p:grpSpPr>
          <a:xfrm>
            <a:off x="8607990" y="1548570"/>
            <a:ext cx="221760" cy="1166400"/>
            <a:chOff x="8607990" y="1548570"/>
            <a:chExt cx="221760" cy="1166400"/>
          </a:xfrm>
        </p:grpSpPr>
        <mc:AlternateContent xmlns:mc="http://schemas.openxmlformats.org/markup-compatibility/2006" xmlns:p14="http://schemas.microsoft.com/office/powerpoint/2010/main">
          <mc:Choice Requires="p14">
            <p:contentPart p14:bwMode="auto" r:id="rId298">
              <p14:nvContentPartPr>
                <p14:cNvPr id="305" name="Ink 304">
                  <a:extLst>
                    <a:ext uri="{FF2B5EF4-FFF2-40B4-BE49-F238E27FC236}">
                      <a16:creationId xmlns:a16="http://schemas.microsoft.com/office/drawing/2014/main" id="{0ED1391E-A646-09B1-B140-A47DE34C6A4A}"/>
                    </a:ext>
                  </a:extLst>
                </p14:cNvPr>
                <p14:cNvContentPartPr/>
                <p14:nvPr/>
              </p14:nvContentPartPr>
              <p14:xfrm>
                <a:off x="8607990" y="1548570"/>
                <a:ext cx="221760" cy="1166400"/>
              </p14:xfrm>
            </p:contentPart>
          </mc:Choice>
          <mc:Fallback xmlns="">
            <p:pic>
              <p:nvPicPr>
                <p:cNvPr id="305" name="Ink 304">
                  <a:extLst>
                    <a:ext uri="{FF2B5EF4-FFF2-40B4-BE49-F238E27FC236}">
                      <a16:creationId xmlns:a16="http://schemas.microsoft.com/office/drawing/2014/main" id="{0ED1391E-A646-09B1-B140-A47DE34C6A4A}"/>
                    </a:ext>
                  </a:extLst>
                </p:cNvPr>
                <p:cNvPicPr/>
                <p:nvPr/>
              </p:nvPicPr>
              <p:blipFill>
                <a:blip r:embed="rId299"/>
                <a:stretch>
                  <a:fillRect/>
                </a:stretch>
              </p:blipFill>
              <p:spPr>
                <a:xfrm>
                  <a:off x="8601870" y="1542450"/>
                  <a:ext cx="234000" cy="1178640"/>
                </a:xfrm>
                <a:prstGeom prst="rect">
                  <a:avLst/>
                </a:prstGeom>
              </p:spPr>
            </p:pic>
          </mc:Fallback>
        </mc:AlternateContent>
        <mc:AlternateContent xmlns:mc="http://schemas.openxmlformats.org/markup-compatibility/2006" xmlns:p14="http://schemas.microsoft.com/office/powerpoint/2010/main">
          <mc:Choice Requires="p14">
            <p:contentPart p14:bwMode="auto" r:id="rId300">
              <p14:nvContentPartPr>
                <p14:cNvPr id="306" name="Ink 305">
                  <a:extLst>
                    <a:ext uri="{FF2B5EF4-FFF2-40B4-BE49-F238E27FC236}">
                      <a16:creationId xmlns:a16="http://schemas.microsoft.com/office/drawing/2014/main" id="{28CFFBDE-4157-3D57-CEA0-4C9EB8B22A43}"/>
                    </a:ext>
                  </a:extLst>
                </p14:cNvPr>
                <p14:cNvContentPartPr/>
                <p14:nvPr/>
              </p14:nvContentPartPr>
              <p14:xfrm>
                <a:off x="8610510" y="1619130"/>
                <a:ext cx="39960" cy="41400"/>
              </p14:xfrm>
            </p:contentPart>
          </mc:Choice>
          <mc:Fallback xmlns="">
            <p:pic>
              <p:nvPicPr>
                <p:cNvPr id="306" name="Ink 305">
                  <a:extLst>
                    <a:ext uri="{FF2B5EF4-FFF2-40B4-BE49-F238E27FC236}">
                      <a16:creationId xmlns:a16="http://schemas.microsoft.com/office/drawing/2014/main" id="{28CFFBDE-4157-3D57-CEA0-4C9EB8B22A43}"/>
                    </a:ext>
                  </a:extLst>
                </p:cNvPr>
                <p:cNvPicPr/>
                <p:nvPr/>
              </p:nvPicPr>
              <p:blipFill>
                <a:blip r:embed="rId301"/>
                <a:stretch>
                  <a:fillRect/>
                </a:stretch>
              </p:blipFill>
              <p:spPr>
                <a:xfrm>
                  <a:off x="8604390" y="1613010"/>
                  <a:ext cx="52200" cy="53640"/>
                </a:xfrm>
                <a:prstGeom prst="rect">
                  <a:avLst/>
                </a:prstGeom>
              </p:spPr>
            </p:pic>
          </mc:Fallback>
        </mc:AlternateContent>
      </p:grpSp>
      <p:grpSp>
        <p:nvGrpSpPr>
          <p:cNvPr id="310" name="Group 309">
            <a:extLst>
              <a:ext uri="{FF2B5EF4-FFF2-40B4-BE49-F238E27FC236}">
                <a16:creationId xmlns:a16="http://schemas.microsoft.com/office/drawing/2014/main" id="{CC013433-3A88-DF12-836A-B430CF9E946D}"/>
              </a:ext>
            </a:extLst>
          </p:cNvPr>
          <p:cNvGrpSpPr/>
          <p:nvPr/>
        </p:nvGrpSpPr>
        <p:grpSpPr>
          <a:xfrm>
            <a:off x="9534270" y="1531290"/>
            <a:ext cx="200520" cy="1516680"/>
            <a:chOff x="9534270" y="1531290"/>
            <a:chExt cx="200520" cy="1516680"/>
          </a:xfrm>
        </p:grpSpPr>
        <mc:AlternateContent xmlns:mc="http://schemas.openxmlformats.org/markup-compatibility/2006" xmlns:p14="http://schemas.microsoft.com/office/powerpoint/2010/main">
          <mc:Choice Requires="p14">
            <p:contentPart p14:bwMode="auto" r:id="rId302">
              <p14:nvContentPartPr>
                <p14:cNvPr id="308" name="Ink 307">
                  <a:extLst>
                    <a:ext uri="{FF2B5EF4-FFF2-40B4-BE49-F238E27FC236}">
                      <a16:creationId xmlns:a16="http://schemas.microsoft.com/office/drawing/2014/main" id="{8715B929-5BBF-A5CE-E263-7525008F8586}"/>
                    </a:ext>
                  </a:extLst>
                </p14:cNvPr>
                <p14:cNvContentPartPr/>
                <p14:nvPr/>
              </p14:nvContentPartPr>
              <p14:xfrm>
                <a:off x="9534270" y="1531290"/>
                <a:ext cx="200520" cy="1516680"/>
              </p14:xfrm>
            </p:contentPart>
          </mc:Choice>
          <mc:Fallback xmlns="">
            <p:pic>
              <p:nvPicPr>
                <p:cNvPr id="308" name="Ink 307">
                  <a:extLst>
                    <a:ext uri="{FF2B5EF4-FFF2-40B4-BE49-F238E27FC236}">
                      <a16:creationId xmlns:a16="http://schemas.microsoft.com/office/drawing/2014/main" id="{8715B929-5BBF-A5CE-E263-7525008F8586}"/>
                    </a:ext>
                  </a:extLst>
                </p:cNvPr>
                <p:cNvPicPr/>
                <p:nvPr/>
              </p:nvPicPr>
              <p:blipFill>
                <a:blip r:embed="rId303"/>
                <a:stretch>
                  <a:fillRect/>
                </a:stretch>
              </p:blipFill>
              <p:spPr>
                <a:xfrm>
                  <a:off x="9528150" y="1525170"/>
                  <a:ext cx="212760" cy="1528920"/>
                </a:xfrm>
                <a:prstGeom prst="rect">
                  <a:avLst/>
                </a:prstGeom>
              </p:spPr>
            </p:pic>
          </mc:Fallback>
        </mc:AlternateContent>
        <mc:AlternateContent xmlns:mc="http://schemas.openxmlformats.org/markup-compatibility/2006" xmlns:p14="http://schemas.microsoft.com/office/powerpoint/2010/main">
          <mc:Choice Requires="p14">
            <p:contentPart p14:bwMode="auto" r:id="rId304">
              <p14:nvContentPartPr>
                <p14:cNvPr id="309" name="Ink 308">
                  <a:extLst>
                    <a:ext uri="{FF2B5EF4-FFF2-40B4-BE49-F238E27FC236}">
                      <a16:creationId xmlns:a16="http://schemas.microsoft.com/office/drawing/2014/main" id="{540084BE-49CF-DE0A-D530-ED2B08463438}"/>
                    </a:ext>
                  </a:extLst>
                </p14:cNvPr>
                <p14:cNvContentPartPr/>
                <p14:nvPr/>
              </p14:nvContentPartPr>
              <p14:xfrm>
                <a:off x="9534270" y="1619130"/>
                <a:ext cx="65160" cy="66600"/>
              </p14:xfrm>
            </p:contentPart>
          </mc:Choice>
          <mc:Fallback xmlns="">
            <p:pic>
              <p:nvPicPr>
                <p:cNvPr id="309" name="Ink 308">
                  <a:extLst>
                    <a:ext uri="{FF2B5EF4-FFF2-40B4-BE49-F238E27FC236}">
                      <a16:creationId xmlns:a16="http://schemas.microsoft.com/office/drawing/2014/main" id="{540084BE-49CF-DE0A-D530-ED2B08463438}"/>
                    </a:ext>
                  </a:extLst>
                </p:cNvPr>
                <p:cNvPicPr/>
                <p:nvPr/>
              </p:nvPicPr>
              <p:blipFill>
                <a:blip r:embed="rId305"/>
                <a:stretch>
                  <a:fillRect/>
                </a:stretch>
              </p:blipFill>
              <p:spPr>
                <a:xfrm>
                  <a:off x="9528150" y="1613010"/>
                  <a:ext cx="77400" cy="788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306">
            <p14:nvContentPartPr>
              <p14:cNvPr id="8" name="Ink 7">
                <a:extLst>
                  <a:ext uri="{FF2B5EF4-FFF2-40B4-BE49-F238E27FC236}">
                    <a16:creationId xmlns:a16="http://schemas.microsoft.com/office/drawing/2014/main" id="{043DE4A8-6FE9-96D2-2A78-C534723A2359}"/>
                  </a:ext>
                </a:extLst>
              </p14:cNvPr>
              <p14:cNvContentPartPr/>
              <p14:nvPr/>
            </p14:nvContentPartPr>
            <p14:xfrm>
              <a:off x="6602325" y="4742300"/>
              <a:ext cx="4651920" cy="111240"/>
            </p14:xfrm>
          </p:contentPart>
        </mc:Choice>
        <mc:Fallback>
          <p:pic>
            <p:nvPicPr>
              <p:cNvPr id="8" name="Ink 7">
                <a:extLst>
                  <a:ext uri="{FF2B5EF4-FFF2-40B4-BE49-F238E27FC236}">
                    <a16:creationId xmlns:a16="http://schemas.microsoft.com/office/drawing/2014/main" id="{043DE4A8-6FE9-96D2-2A78-C534723A2359}"/>
                  </a:ext>
                </a:extLst>
              </p:cNvPr>
              <p:cNvPicPr/>
              <p:nvPr/>
            </p:nvPicPr>
            <p:blipFill>
              <a:blip r:embed="rId307"/>
              <a:stretch>
                <a:fillRect/>
              </a:stretch>
            </p:blipFill>
            <p:spPr>
              <a:xfrm>
                <a:off x="6512685" y="4562300"/>
                <a:ext cx="4831560" cy="470880"/>
              </a:xfrm>
              <a:prstGeom prst="rect">
                <a:avLst/>
              </a:prstGeom>
            </p:spPr>
          </p:pic>
        </mc:Fallback>
      </mc:AlternateContent>
      <mc:AlternateContent xmlns:mc="http://schemas.openxmlformats.org/markup-compatibility/2006">
        <mc:Choice xmlns:p14="http://schemas.microsoft.com/office/powerpoint/2010/main" Requires="p14">
          <p:contentPart p14:bwMode="auto" r:id="rId308">
            <p14:nvContentPartPr>
              <p14:cNvPr id="9" name="Ink 8">
                <a:extLst>
                  <a:ext uri="{FF2B5EF4-FFF2-40B4-BE49-F238E27FC236}">
                    <a16:creationId xmlns:a16="http://schemas.microsoft.com/office/drawing/2014/main" id="{995DEA04-C099-706F-6693-7165834DFE83}"/>
                  </a:ext>
                </a:extLst>
              </p14:cNvPr>
              <p14:cNvContentPartPr/>
              <p14:nvPr/>
            </p14:nvContentPartPr>
            <p14:xfrm>
              <a:off x="6008325" y="1556300"/>
              <a:ext cx="2051280" cy="3144240"/>
            </p14:xfrm>
          </p:contentPart>
        </mc:Choice>
        <mc:Fallback>
          <p:pic>
            <p:nvPicPr>
              <p:cNvPr id="9" name="Ink 8">
                <a:extLst>
                  <a:ext uri="{FF2B5EF4-FFF2-40B4-BE49-F238E27FC236}">
                    <a16:creationId xmlns:a16="http://schemas.microsoft.com/office/drawing/2014/main" id="{995DEA04-C099-706F-6693-7165834DFE83}"/>
                  </a:ext>
                </a:extLst>
              </p:cNvPr>
              <p:cNvPicPr/>
              <p:nvPr/>
            </p:nvPicPr>
            <p:blipFill>
              <a:blip r:embed="rId309"/>
              <a:stretch>
                <a:fillRect/>
              </a:stretch>
            </p:blipFill>
            <p:spPr>
              <a:xfrm>
                <a:off x="5954685" y="1448300"/>
                <a:ext cx="2158920" cy="3359880"/>
              </a:xfrm>
              <a:prstGeom prst="rect">
                <a:avLst/>
              </a:prstGeom>
            </p:spPr>
          </p:pic>
        </mc:Fallback>
      </mc:AlternateContent>
      <mc:AlternateContent xmlns:mc="http://schemas.openxmlformats.org/markup-compatibility/2006">
        <mc:Choice xmlns:p14="http://schemas.microsoft.com/office/powerpoint/2010/main" Requires="p14">
          <p:contentPart p14:bwMode="auto" r:id="rId310">
            <p14:nvContentPartPr>
              <p14:cNvPr id="10" name="Ink 9">
                <a:extLst>
                  <a:ext uri="{FF2B5EF4-FFF2-40B4-BE49-F238E27FC236}">
                    <a16:creationId xmlns:a16="http://schemas.microsoft.com/office/drawing/2014/main" id="{9C22BD23-5073-83D1-CB77-6B5CF404BDF8}"/>
                  </a:ext>
                </a:extLst>
              </p14:cNvPr>
              <p14:cNvContentPartPr/>
              <p14:nvPr/>
            </p14:nvContentPartPr>
            <p14:xfrm>
              <a:off x="8068965" y="1571060"/>
              <a:ext cx="1915200" cy="1523880"/>
            </p14:xfrm>
          </p:contentPart>
        </mc:Choice>
        <mc:Fallback>
          <p:pic>
            <p:nvPicPr>
              <p:cNvPr id="10" name="Ink 9">
                <a:extLst>
                  <a:ext uri="{FF2B5EF4-FFF2-40B4-BE49-F238E27FC236}">
                    <a16:creationId xmlns:a16="http://schemas.microsoft.com/office/drawing/2014/main" id="{9C22BD23-5073-83D1-CB77-6B5CF404BDF8}"/>
                  </a:ext>
                </a:extLst>
              </p:cNvPr>
              <p:cNvPicPr/>
              <p:nvPr/>
            </p:nvPicPr>
            <p:blipFill>
              <a:blip r:embed="rId311"/>
              <a:stretch>
                <a:fillRect/>
              </a:stretch>
            </p:blipFill>
            <p:spPr>
              <a:xfrm>
                <a:off x="8014965" y="1463420"/>
                <a:ext cx="2022840" cy="1739520"/>
              </a:xfrm>
              <a:prstGeom prst="rect">
                <a:avLst/>
              </a:prstGeom>
            </p:spPr>
          </p:pic>
        </mc:Fallback>
      </mc:AlternateContent>
      <mc:AlternateContent xmlns:mc="http://schemas.openxmlformats.org/markup-compatibility/2006">
        <mc:Choice xmlns:p14="http://schemas.microsoft.com/office/powerpoint/2010/main" Requires="p14">
          <p:contentPart p14:bwMode="auto" r:id="rId312">
            <p14:nvContentPartPr>
              <p14:cNvPr id="11" name="Ink 10">
                <a:extLst>
                  <a:ext uri="{FF2B5EF4-FFF2-40B4-BE49-F238E27FC236}">
                    <a16:creationId xmlns:a16="http://schemas.microsoft.com/office/drawing/2014/main" id="{B20C0F10-1A3C-AF21-8B16-461E37AEA2E5}"/>
                  </a:ext>
                </a:extLst>
              </p14:cNvPr>
              <p14:cNvContentPartPr/>
              <p14:nvPr/>
            </p14:nvContentPartPr>
            <p14:xfrm>
              <a:off x="8691765" y="1597340"/>
              <a:ext cx="111240" cy="1422360"/>
            </p14:xfrm>
          </p:contentPart>
        </mc:Choice>
        <mc:Fallback>
          <p:pic>
            <p:nvPicPr>
              <p:cNvPr id="11" name="Ink 10">
                <a:extLst>
                  <a:ext uri="{FF2B5EF4-FFF2-40B4-BE49-F238E27FC236}">
                    <a16:creationId xmlns:a16="http://schemas.microsoft.com/office/drawing/2014/main" id="{B20C0F10-1A3C-AF21-8B16-461E37AEA2E5}"/>
                  </a:ext>
                </a:extLst>
              </p:cNvPr>
              <p:cNvPicPr/>
              <p:nvPr/>
            </p:nvPicPr>
            <p:blipFill>
              <a:blip r:embed="rId313"/>
              <a:stretch>
                <a:fillRect/>
              </a:stretch>
            </p:blipFill>
            <p:spPr>
              <a:xfrm>
                <a:off x="8637765" y="1489700"/>
                <a:ext cx="218880" cy="1638000"/>
              </a:xfrm>
              <a:prstGeom prst="rect">
                <a:avLst/>
              </a:prstGeom>
            </p:spPr>
          </p:pic>
        </mc:Fallback>
      </mc:AlternateContent>
      <mc:AlternateContent xmlns:mc="http://schemas.openxmlformats.org/markup-compatibility/2006">
        <mc:Choice xmlns:p14="http://schemas.microsoft.com/office/powerpoint/2010/main" Requires="p14">
          <p:contentPart p14:bwMode="auto" r:id="rId314">
            <p14:nvContentPartPr>
              <p14:cNvPr id="12" name="Ink 11">
                <a:extLst>
                  <a:ext uri="{FF2B5EF4-FFF2-40B4-BE49-F238E27FC236}">
                    <a16:creationId xmlns:a16="http://schemas.microsoft.com/office/drawing/2014/main" id="{ED231BE0-8E05-5BEA-4D64-73CE71D67EF3}"/>
                  </a:ext>
                </a:extLst>
              </p14:cNvPr>
              <p14:cNvContentPartPr/>
              <p14:nvPr/>
            </p14:nvContentPartPr>
            <p14:xfrm>
              <a:off x="7807965" y="1606340"/>
              <a:ext cx="944640" cy="72360"/>
            </p14:xfrm>
          </p:contentPart>
        </mc:Choice>
        <mc:Fallback>
          <p:pic>
            <p:nvPicPr>
              <p:cNvPr id="12" name="Ink 11">
                <a:extLst>
                  <a:ext uri="{FF2B5EF4-FFF2-40B4-BE49-F238E27FC236}">
                    <a16:creationId xmlns:a16="http://schemas.microsoft.com/office/drawing/2014/main" id="{ED231BE0-8E05-5BEA-4D64-73CE71D67EF3}"/>
                  </a:ext>
                </a:extLst>
              </p:cNvPr>
              <p:cNvPicPr/>
              <p:nvPr/>
            </p:nvPicPr>
            <p:blipFill>
              <a:blip r:embed="rId315"/>
              <a:stretch>
                <a:fillRect/>
              </a:stretch>
            </p:blipFill>
            <p:spPr>
              <a:xfrm>
                <a:off x="7753965" y="1498340"/>
                <a:ext cx="1052280" cy="288000"/>
              </a:xfrm>
              <a:prstGeom prst="rect">
                <a:avLst/>
              </a:prstGeom>
            </p:spPr>
          </p:pic>
        </mc:Fallback>
      </mc:AlternateContent>
      <mc:AlternateContent xmlns:mc="http://schemas.openxmlformats.org/markup-compatibility/2006">
        <mc:Choice xmlns:p14="http://schemas.microsoft.com/office/powerpoint/2010/main" Requires="p14">
          <p:contentPart p14:bwMode="auto" r:id="rId316">
            <p14:nvContentPartPr>
              <p14:cNvPr id="13" name="Ink 12">
                <a:extLst>
                  <a:ext uri="{FF2B5EF4-FFF2-40B4-BE49-F238E27FC236}">
                    <a16:creationId xmlns:a16="http://schemas.microsoft.com/office/drawing/2014/main" id="{5E918820-CD1D-FC85-49CF-E1E45150FD23}"/>
                  </a:ext>
                </a:extLst>
              </p14:cNvPr>
              <p14:cNvContentPartPr/>
              <p14:nvPr/>
            </p14:nvContentPartPr>
            <p14:xfrm>
              <a:off x="6016245" y="1566740"/>
              <a:ext cx="1841760" cy="72360"/>
            </p14:xfrm>
          </p:contentPart>
        </mc:Choice>
        <mc:Fallback>
          <p:pic>
            <p:nvPicPr>
              <p:cNvPr id="13" name="Ink 12">
                <a:extLst>
                  <a:ext uri="{FF2B5EF4-FFF2-40B4-BE49-F238E27FC236}">
                    <a16:creationId xmlns:a16="http://schemas.microsoft.com/office/drawing/2014/main" id="{5E918820-CD1D-FC85-49CF-E1E45150FD23}"/>
                  </a:ext>
                </a:extLst>
              </p:cNvPr>
              <p:cNvPicPr/>
              <p:nvPr/>
            </p:nvPicPr>
            <p:blipFill>
              <a:blip r:embed="rId317"/>
              <a:stretch>
                <a:fillRect/>
              </a:stretch>
            </p:blipFill>
            <p:spPr>
              <a:xfrm>
                <a:off x="5962245" y="1458740"/>
                <a:ext cx="1949400" cy="288000"/>
              </a:xfrm>
              <a:prstGeom prst="rect">
                <a:avLst/>
              </a:prstGeom>
            </p:spPr>
          </p:pic>
        </mc:Fallback>
      </mc:AlternateContent>
      <mc:AlternateContent xmlns:mc="http://schemas.openxmlformats.org/markup-compatibility/2006">
        <mc:Choice xmlns:p14="http://schemas.microsoft.com/office/powerpoint/2010/main" Requires="p14">
          <p:contentPart p14:bwMode="auto" r:id="rId318">
            <p14:nvContentPartPr>
              <p14:cNvPr id="14" name="Ink 13">
                <a:extLst>
                  <a:ext uri="{FF2B5EF4-FFF2-40B4-BE49-F238E27FC236}">
                    <a16:creationId xmlns:a16="http://schemas.microsoft.com/office/drawing/2014/main" id="{ABC01506-147A-F690-F0A0-30E2699447C2}"/>
                  </a:ext>
                </a:extLst>
              </p14:cNvPr>
              <p14:cNvContentPartPr/>
              <p14:nvPr/>
            </p14:nvContentPartPr>
            <p14:xfrm>
              <a:off x="8611485" y="1586900"/>
              <a:ext cx="1275120" cy="41400"/>
            </p14:xfrm>
          </p:contentPart>
        </mc:Choice>
        <mc:Fallback>
          <p:pic>
            <p:nvPicPr>
              <p:cNvPr id="14" name="Ink 13">
                <a:extLst>
                  <a:ext uri="{FF2B5EF4-FFF2-40B4-BE49-F238E27FC236}">
                    <a16:creationId xmlns:a16="http://schemas.microsoft.com/office/drawing/2014/main" id="{ABC01506-147A-F690-F0A0-30E2699447C2}"/>
                  </a:ext>
                </a:extLst>
              </p:cNvPr>
              <p:cNvPicPr/>
              <p:nvPr/>
            </p:nvPicPr>
            <p:blipFill>
              <a:blip r:embed="rId319"/>
              <a:stretch>
                <a:fillRect/>
              </a:stretch>
            </p:blipFill>
            <p:spPr>
              <a:xfrm>
                <a:off x="8557845" y="1479260"/>
                <a:ext cx="1382760" cy="257040"/>
              </a:xfrm>
              <a:prstGeom prst="rect">
                <a:avLst/>
              </a:prstGeom>
            </p:spPr>
          </p:pic>
        </mc:Fallback>
      </mc:AlternateContent>
      <mc:AlternateContent xmlns:mc="http://schemas.openxmlformats.org/markup-compatibility/2006">
        <mc:Choice xmlns:p14="http://schemas.microsoft.com/office/powerpoint/2010/main" Requires="p14">
          <p:contentPart p14:bwMode="auto" r:id="rId320">
            <p14:nvContentPartPr>
              <p14:cNvPr id="15" name="Ink 14">
                <a:extLst>
                  <a:ext uri="{FF2B5EF4-FFF2-40B4-BE49-F238E27FC236}">
                    <a16:creationId xmlns:a16="http://schemas.microsoft.com/office/drawing/2014/main" id="{1606BBC9-C612-1DF6-5127-3734F3ADF7D2}"/>
                  </a:ext>
                </a:extLst>
              </p14:cNvPr>
              <p14:cNvContentPartPr/>
              <p14:nvPr/>
            </p14:nvContentPartPr>
            <p14:xfrm>
              <a:off x="8810925" y="4219580"/>
              <a:ext cx="2737080" cy="172800"/>
            </p14:xfrm>
          </p:contentPart>
        </mc:Choice>
        <mc:Fallback>
          <p:pic>
            <p:nvPicPr>
              <p:cNvPr id="15" name="Ink 14">
                <a:extLst>
                  <a:ext uri="{FF2B5EF4-FFF2-40B4-BE49-F238E27FC236}">
                    <a16:creationId xmlns:a16="http://schemas.microsoft.com/office/drawing/2014/main" id="{1606BBC9-C612-1DF6-5127-3734F3ADF7D2}"/>
                  </a:ext>
                </a:extLst>
              </p:cNvPr>
              <p:cNvPicPr/>
              <p:nvPr/>
            </p:nvPicPr>
            <p:blipFill>
              <a:blip r:embed="rId321"/>
              <a:stretch>
                <a:fillRect/>
              </a:stretch>
            </p:blipFill>
            <p:spPr>
              <a:xfrm>
                <a:off x="8756925" y="4111580"/>
                <a:ext cx="2844720" cy="388440"/>
              </a:xfrm>
              <a:prstGeom prst="rect">
                <a:avLst/>
              </a:prstGeom>
            </p:spPr>
          </p:pic>
        </mc:Fallback>
      </mc:AlternateContent>
      <mc:AlternateContent xmlns:mc="http://schemas.openxmlformats.org/markup-compatibility/2006">
        <mc:Choice xmlns:p14="http://schemas.microsoft.com/office/powerpoint/2010/main" Requires="p14">
          <p:contentPart p14:bwMode="auto" r:id="rId322">
            <p14:nvContentPartPr>
              <p14:cNvPr id="26" name="Ink 25">
                <a:extLst>
                  <a:ext uri="{FF2B5EF4-FFF2-40B4-BE49-F238E27FC236}">
                    <a16:creationId xmlns:a16="http://schemas.microsoft.com/office/drawing/2014/main" id="{F3F46E20-D2CB-7A28-1886-3D88B7B38CE6}"/>
                  </a:ext>
                </a:extLst>
              </p14:cNvPr>
              <p14:cNvContentPartPr/>
              <p14:nvPr/>
            </p14:nvContentPartPr>
            <p14:xfrm>
              <a:off x="8701125" y="4127420"/>
              <a:ext cx="1297440" cy="334800"/>
            </p14:xfrm>
          </p:contentPart>
        </mc:Choice>
        <mc:Fallback>
          <p:pic>
            <p:nvPicPr>
              <p:cNvPr id="26" name="Ink 25">
                <a:extLst>
                  <a:ext uri="{FF2B5EF4-FFF2-40B4-BE49-F238E27FC236}">
                    <a16:creationId xmlns:a16="http://schemas.microsoft.com/office/drawing/2014/main" id="{F3F46E20-D2CB-7A28-1886-3D88B7B38CE6}"/>
                  </a:ext>
                </a:extLst>
              </p:cNvPr>
              <p:cNvPicPr/>
              <p:nvPr/>
            </p:nvPicPr>
            <p:blipFill>
              <a:blip r:embed="rId323"/>
              <a:stretch>
                <a:fillRect/>
              </a:stretch>
            </p:blipFill>
            <p:spPr>
              <a:xfrm>
                <a:off x="8647485" y="4019420"/>
                <a:ext cx="1405080" cy="550440"/>
              </a:xfrm>
              <a:prstGeom prst="rect">
                <a:avLst/>
              </a:prstGeom>
            </p:spPr>
          </p:pic>
        </mc:Fallback>
      </mc:AlternateContent>
      <mc:AlternateContent xmlns:mc="http://schemas.openxmlformats.org/markup-compatibility/2006">
        <mc:Choice xmlns:p14="http://schemas.microsoft.com/office/powerpoint/2010/main" Requires="p14">
          <p:contentPart p14:bwMode="auto" r:id="rId324">
            <p14:nvContentPartPr>
              <p14:cNvPr id="45" name="Ink 44">
                <a:extLst>
                  <a:ext uri="{FF2B5EF4-FFF2-40B4-BE49-F238E27FC236}">
                    <a16:creationId xmlns:a16="http://schemas.microsoft.com/office/drawing/2014/main" id="{374F7D00-DF1C-0B41-22AF-DA26B5BEB05F}"/>
                  </a:ext>
                </a:extLst>
              </p14:cNvPr>
              <p14:cNvContentPartPr/>
              <p14:nvPr/>
            </p14:nvContentPartPr>
            <p14:xfrm>
              <a:off x="8701485" y="3745100"/>
              <a:ext cx="2432880" cy="415440"/>
            </p14:xfrm>
          </p:contentPart>
        </mc:Choice>
        <mc:Fallback>
          <p:pic>
            <p:nvPicPr>
              <p:cNvPr id="45" name="Ink 44">
                <a:extLst>
                  <a:ext uri="{FF2B5EF4-FFF2-40B4-BE49-F238E27FC236}">
                    <a16:creationId xmlns:a16="http://schemas.microsoft.com/office/drawing/2014/main" id="{374F7D00-DF1C-0B41-22AF-DA26B5BEB05F}"/>
                  </a:ext>
                </a:extLst>
              </p:cNvPr>
              <p:cNvPicPr/>
              <p:nvPr/>
            </p:nvPicPr>
            <p:blipFill>
              <a:blip r:embed="rId325"/>
              <a:stretch>
                <a:fillRect/>
              </a:stretch>
            </p:blipFill>
            <p:spPr>
              <a:xfrm>
                <a:off x="8647485" y="3637460"/>
                <a:ext cx="2540520" cy="631080"/>
              </a:xfrm>
              <a:prstGeom prst="rect">
                <a:avLst/>
              </a:prstGeom>
            </p:spPr>
          </p:pic>
        </mc:Fallback>
      </mc:AlternateContent>
      <mc:AlternateContent xmlns:mc="http://schemas.openxmlformats.org/markup-compatibility/2006">
        <mc:Choice xmlns:p14="http://schemas.microsoft.com/office/powerpoint/2010/main" Requires="p14">
          <p:contentPart p14:bwMode="auto" r:id="rId326">
            <p14:nvContentPartPr>
              <p14:cNvPr id="50" name="Ink 49">
                <a:extLst>
                  <a:ext uri="{FF2B5EF4-FFF2-40B4-BE49-F238E27FC236}">
                    <a16:creationId xmlns:a16="http://schemas.microsoft.com/office/drawing/2014/main" id="{E70B6AEE-44D1-62FE-1E1A-717B5FCFCCFA}"/>
                  </a:ext>
                </a:extLst>
              </p14:cNvPr>
              <p14:cNvContentPartPr/>
              <p14:nvPr/>
            </p14:nvContentPartPr>
            <p14:xfrm>
              <a:off x="6335925" y="3686780"/>
              <a:ext cx="2618280" cy="322920"/>
            </p14:xfrm>
          </p:contentPart>
        </mc:Choice>
        <mc:Fallback>
          <p:pic>
            <p:nvPicPr>
              <p:cNvPr id="50" name="Ink 49">
                <a:extLst>
                  <a:ext uri="{FF2B5EF4-FFF2-40B4-BE49-F238E27FC236}">
                    <a16:creationId xmlns:a16="http://schemas.microsoft.com/office/drawing/2014/main" id="{E70B6AEE-44D1-62FE-1E1A-717B5FCFCCFA}"/>
                  </a:ext>
                </a:extLst>
              </p:cNvPr>
              <p:cNvPicPr/>
              <p:nvPr/>
            </p:nvPicPr>
            <p:blipFill>
              <a:blip r:embed="rId327"/>
              <a:stretch>
                <a:fillRect/>
              </a:stretch>
            </p:blipFill>
            <p:spPr>
              <a:xfrm>
                <a:off x="6281925" y="3579140"/>
                <a:ext cx="2725920" cy="538560"/>
              </a:xfrm>
              <a:prstGeom prst="rect">
                <a:avLst/>
              </a:prstGeom>
            </p:spPr>
          </p:pic>
        </mc:Fallback>
      </mc:AlternateContent>
      <mc:AlternateContent xmlns:mc="http://schemas.openxmlformats.org/markup-compatibility/2006">
        <mc:Choice xmlns:p14="http://schemas.microsoft.com/office/powerpoint/2010/main" Requires="p14">
          <p:contentPart p14:bwMode="auto" r:id="rId328">
            <p14:nvContentPartPr>
              <p14:cNvPr id="55" name="Ink 54">
                <a:extLst>
                  <a:ext uri="{FF2B5EF4-FFF2-40B4-BE49-F238E27FC236}">
                    <a16:creationId xmlns:a16="http://schemas.microsoft.com/office/drawing/2014/main" id="{739EDD4D-78C9-17FD-C59D-A1ECA19933E1}"/>
                  </a:ext>
                </a:extLst>
              </p14:cNvPr>
              <p14:cNvContentPartPr/>
              <p14:nvPr/>
            </p14:nvContentPartPr>
            <p14:xfrm>
              <a:off x="10109830" y="333836"/>
              <a:ext cx="1770480" cy="326880"/>
            </p14:xfrm>
          </p:contentPart>
        </mc:Choice>
        <mc:Fallback>
          <p:pic>
            <p:nvPicPr>
              <p:cNvPr id="55" name="Ink 54">
                <a:extLst>
                  <a:ext uri="{FF2B5EF4-FFF2-40B4-BE49-F238E27FC236}">
                    <a16:creationId xmlns:a16="http://schemas.microsoft.com/office/drawing/2014/main" id="{739EDD4D-78C9-17FD-C59D-A1ECA19933E1}"/>
                  </a:ext>
                </a:extLst>
              </p:cNvPr>
              <p:cNvPicPr/>
              <p:nvPr/>
            </p:nvPicPr>
            <p:blipFill>
              <a:blip r:embed="rId329"/>
              <a:stretch>
                <a:fillRect/>
              </a:stretch>
            </p:blipFill>
            <p:spPr>
              <a:xfrm>
                <a:off x="10056190" y="226196"/>
                <a:ext cx="1878120" cy="542520"/>
              </a:xfrm>
              <a:prstGeom prst="rect">
                <a:avLst/>
              </a:prstGeom>
            </p:spPr>
          </p:pic>
        </mc:Fallback>
      </mc:AlternateContent>
      <mc:AlternateContent xmlns:mc="http://schemas.openxmlformats.org/markup-compatibility/2006">
        <mc:Choice xmlns:p14="http://schemas.microsoft.com/office/powerpoint/2010/main" Requires="p14">
          <p:contentPart p14:bwMode="auto" r:id="rId330">
            <p14:nvContentPartPr>
              <p14:cNvPr id="56" name="Ink 55">
                <a:extLst>
                  <a:ext uri="{FF2B5EF4-FFF2-40B4-BE49-F238E27FC236}">
                    <a16:creationId xmlns:a16="http://schemas.microsoft.com/office/drawing/2014/main" id="{26BBEA60-8254-D40E-5E70-8BE49AC77397}"/>
                  </a:ext>
                </a:extLst>
              </p14:cNvPr>
              <p14:cNvContentPartPr/>
              <p14:nvPr/>
            </p14:nvContentPartPr>
            <p14:xfrm>
              <a:off x="10932430" y="1258676"/>
              <a:ext cx="1240200" cy="79560"/>
            </p14:xfrm>
          </p:contentPart>
        </mc:Choice>
        <mc:Fallback>
          <p:pic>
            <p:nvPicPr>
              <p:cNvPr id="56" name="Ink 55">
                <a:extLst>
                  <a:ext uri="{FF2B5EF4-FFF2-40B4-BE49-F238E27FC236}">
                    <a16:creationId xmlns:a16="http://schemas.microsoft.com/office/drawing/2014/main" id="{26BBEA60-8254-D40E-5E70-8BE49AC77397}"/>
                  </a:ext>
                </a:extLst>
              </p:cNvPr>
              <p:cNvPicPr/>
              <p:nvPr/>
            </p:nvPicPr>
            <p:blipFill>
              <a:blip r:embed="rId331"/>
              <a:stretch>
                <a:fillRect/>
              </a:stretch>
            </p:blipFill>
            <p:spPr>
              <a:xfrm>
                <a:off x="10878790" y="1151036"/>
                <a:ext cx="1347840" cy="295200"/>
              </a:xfrm>
              <a:prstGeom prst="rect">
                <a:avLst/>
              </a:prstGeom>
            </p:spPr>
          </p:pic>
        </mc:Fallback>
      </mc:AlternateContent>
      <mc:AlternateContent xmlns:mc="http://schemas.openxmlformats.org/markup-compatibility/2006">
        <mc:Choice xmlns:p14="http://schemas.microsoft.com/office/powerpoint/2010/main" Requires="p14">
          <p:contentPart p14:bwMode="auto" r:id="rId332">
            <p14:nvContentPartPr>
              <p14:cNvPr id="58" name="Ink 57">
                <a:extLst>
                  <a:ext uri="{FF2B5EF4-FFF2-40B4-BE49-F238E27FC236}">
                    <a16:creationId xmlns:a16="http://schemas.microsoft.com/office/drawing/2014/main" id="{89B09A9F-DC75-6DCB-8F24-A4252DAC3B5C}"/>
                  </a:ext>
                </a:extLst>
              </p14:cNvPr>
              <p14:cNvContentPartPr/>
              <p14:nvPr/>
            </p14:nvContentPartPr>
            <p14:xfrm>
              <a:off x="6037870" y="540476"/>
              <a:ext cx="3551760" cy="276840"/>
            </p14:xfrm>
          </p:contentPart>
        </mc:Choice>
        <mc:Fallback>
          <p:pic>
            <p:nvPicPr>
              <p:cNvPr id="58" name="Ink 57">
                <a:extLst>
                  <a:ext uri="{FF2B5EF4-FFF2-40B4-BE49-F238E27FC236}">
                    <a16:creationId xmlns:a16="http://schemas.microsoft.com/office/drawing/2014/main" id="{89B09A9F-DC75-6DCB-8F24-A4252DAC3B5C}"/>
                  </a:ext>
                </a:extLst>
              </p:cNvPr>
              <p:cNvPicPr/>
              <p:nvPr/>
            </p:nvPicPr>
            <p:blipFill>
              <a:blip r:embed="rId333"/>
              <a:stretch>
                <a:fillRect/>
              </a:stretch>
            </p:blipFill>
            <p:spPr>
              <a:xfrm>
                <a:off x="5984230" y="432476"/>
                <a:ext cx="3659400" cy="492480"/>
              </a:xfrm>
              <a:prstGeom prst="rect">
                <a:avLst/>
              </a:prstGeom>
            </p:spPr>
          </p:pic>
        </mc:Fallback>
      </mc:AlternateContent>
      <mc:AlternateContent xmlns:mc="http://schemas.openxmlformats.org/markup-compatibility/2006">
        <mc:Choice xmlns:p14="http://schemas.microsoft.com/office/powerpoint/2010/main" Requires="p14">
          <p:contentPart p14:bwMode="auto" r:id="rId334">
            <p14:nvContentPartPr>
              <p14:cNvPr id="59" name="Ink 58">
                <a:extLst>
                  <a:ext uri="{FF2B5EF4-FFF2-40B4-BE49-F238E27FC236}">
                    <a16:creationId xmlns:a16="http://schemas.microsoft.com/office/drawing/2014/main" id="{2DF9BAE5-6B58-3042-FBAD-86E50894ACED}"/>
                  </a:ext>
                </a:extLst>
              </p14:cNvPr>
              <p14:cNvContentPartPr/>
              <p14:nvPr/>
            </p14:nvContentPartPr>
            <p14:xfrm>
              <a:off x="11759350" y="1572596"/>
              <a:ext cx="1208520" cy="70200"/>
            </p14:xfrm>
          </p:contentPart>
        </mc:Choice>
        <mc:Fallback>
          <p:pic>
            <p:nvPicPr>
              <p:cNvPr id="59" name="Ink 58">
                <a:extLst>
                  <a:ext uri="{FF2B5EF4-FFF2-40B4-BE49-F238E27FC236}">
                    <a16:creationId xmlns:a16="http://schemas.microsoft.com/office/drawing/2014/main" id="{2DF9BAE5-6B58-3042-FBAD-86E50894ACED}"/>
                  </a:ext>
                </a:extLst>
              </p:cNvPr>
              <p:cNvPicPr/>
              <p:nvPr/>
            </p:nvPicPr>
            <p:blipFill>
              <a:blip r:embed="rId335"/>
              <a:stretch>
                <a:fillRect/>
              </a:stretch>
            </p:blipFill>
            <p:spPr>
              <a:xfrm>
                <a:off x="11705350" y="1464596"/>
                <a:ext cx="1316160" cy="285840"/>
              </a:xfrm>
              <a:prstGeom prst="rect">
                <a:avLst/>
              </a:prstGeom>
            </p:spPr>
          </p:pic>
        </mc:Fallback>
      </mc:AlternateContent>
      <mc:AlternateContent xmlns:mc="http://schemas.openxmlformats.org/markup-compatibility/2006">
        <mc:Choice xmlns:p14="http://schemas.microsoft.com/office/powerpoint/2010/main" Requires="p14">
          <p:contentPart p14:bwMode="auto" r:id="rId336">
            <p14:nvContentPartPr>
              <p14:cNvPr id="60" name="Ink 59">
                <a:extLst>
                  <a:ext uri="{FF2B5EF4-FFF2-40B4-BE49-F238E27FC236}">
                    <a16:creationId xmlns:a16="http://schemas.microsoft.com/office/drawing/2014/main" id="{54CE7185-73C7-BE7F-BA78-CA5F02884438}"/>
                  </a:ext>
                </a:extLst>
              </p14:cNvPr>
              <p14:cNvContentPartPr/>
              <p14:nvPr/>
            </p14:nvContentPartPr>
            <p14:xfrm>
              <a:off x="6757870" y="38276"/>
              <a:ext cx="6174360" cy="1426680"/>
            </p14:xfrm>
          </p:contentPart>
        </mc:Choice>
        <mc:Fallback>
          <p:pic>
            <p:nvPicPr>
              <p:cNvPr id="60" name="Ink 59">
                <a:extLst>
                  <a:ext uri="{FF2B5EF4-FFF2-40B4-BE49-F238E27FC236}">
                    <a16:creationId xmlns:a16="http://schemas.microsoft.com/office/drawing/2014/main" id="{54CE7185-73C7-BE7F-BA78-CA5F02884438}"/>
                  </a:ext>
                </a:extLst>
              </p:cNvPr>
              <p:cNvPicPr/>
              <p:nvPr/>
            </p:nvPicPr>
            <p:blipFill>
              <a:blip r:embed="rId337"/>
              <a:stretch>
                <a:fillRect/>
              </a:stretch>
            </p:blipFill>
            <p:spPr>
              <a:xfrm>
                <a:off x="6704230" y="-69364"/>
                <a:ext cx="6282000" cy="1642320"/>
              </a:xfrm>
              <a:prstGeom prst="rect">
                <a:avLst/>
              </a:prstGeom>
            </p:spPr>
          </p:pic>
        </mc:Fallback>
      </mc:AlternateContent>
      <mc:AlternateContent xmlns:mc="http://schemas.openxmlformats.org/markup-compatibility/2006">
        <mc:Choice xmlns:p14="http://schemas.microsoft.com/office/powerpoint/2010/main" Requires="p14">
          <p:contentPart p14:bwMode="auto" r:id="rId338">
            <p14:nvContentPartPr>
              <p14:cNvPr id="61" name="Ink 60">
                <a:extLst>
                  <a:ext uri="{FF2B5EF4-FFF2-40B4-BE49-F238E27FC236}">
                    <a16:creationId xmlns:a16="http://schemas.microsoft.com/office/drawing/2014/main" id="{CCF102E5-2963-A3C6-2ED2-4BC05D9D07B9}"/>
                  </a:ext>
                </a:extLst>
              </p14:cNvPr>
              <p14:cNvContentPartPr/>
              <p14:nvPr/>
            </p14:nvContentPartPr>
            <p14:xfrm>
              <a:off x="7629790" y="304475"/>
              <a:ext cx="360" cy="360"/>
            </p14:xfrm>
          </p:contentPart>
        </mc:Choice>
        <mc:Fallback>
          <p:pic>
            <p:nvPicPr>
              <p:cNvPr id="61" name="Ink 60">
                <a:extLst>
                  <a:ext uri="{FF2B5EF4-FFF2-40B4-BE49-F238E27FC236}">
                    <a16:creationId xmlns:a16="http://schemas.microsoft.com/office/drawing/2014/main" id="{CCF102E5-2963-A3C6-2ED2-4BC05D9D07B9}"/>
                  </a:ext>
                </a:extLst>
              </p:cNvPr>
              <p:cNvPicPr/>
              <p:nvPr/>
            </p:nvPicPr>
            <p:blipFill>
              <a:blip r:embed="rId339"/>
              <a:stretch>
                <a:fillRect/>
              </a:stretch>
            </p:blipFill>
            <p:spPr>
              <a:xfrm>
                <a:off x="7575790" y="196475"/>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340">
            <p14:nvContentPartPr>
              <p14:cNvPr id="62" name="Ink 61">
                <a:extLst>
                  <a:ext uri="{FF2B5EF4-FFF2-40B4-BE49-F238E27FC236}">
                    <a16:creationId xmlns:a16="http://schemas.microsoft.com/office/drawing/2014/main" id="{97EA70B8-B95A-21EF-29EB-86A43D3DBCD5}"/>
                  </a:ext>
                </a:extLst>
              </p14:cNvPr>
              <p14:cNvContentPartPr/>
              <p14:nvPr/>
            </p14:nvContentPartPr>
            <p14:xfrm>
              <a:off x="7629790" y="304475"/>
              <a:ext cx="69480" cy="215640"/>
            </p14:xfrm>
          </p:contentPart>
        </mc:Choice>
        <mc:Fallback>
          <p:pic>
            <p:nvPicPr>
              <p:cNvPr id="62" name="Ink 61">
                <a:extLst>
                  <a:ext uri="{FF2B5EF4-FFF2-40B4-BE49-F238E27FC236}">
                    <a16:creationId xmlns:a16="http://schemas.microsoft.com/office/drawing/2014/main" id="{97EA70B8-B95A-21EF-29EB-86A43D3DBCD5}"/>
                  </a:ext>
                </a:extLst>
              </p:cNvPr>
              <p:cNvPicPr/>
              <p:nvPr/>
            </p:nvPicPr>
            <p:blipFill>
              <a:blip r:embed="rId341"/>
              <a:stretch>
                <a:fillRect/>
              </a:stretch>
            </p:blipFill>
            <p:spPr>
              <a:xfrm>
                <a:off x="7575790" y="196475"/>
                <a:ext cx="177120" cy="431280"/>
              </a:xfrm>
              <a:prstGeom prst="rect">
                <a:avLst/>
              </a:prstGeom>
            </p:spPr>
          </p:pic>
        </mc:Fallback>
      </mc:AlternateContent>
      <mc:AlternateContent xmlns:mc="http://schemas.openxmlformats.org/markup-compatibility/2006">
        <mc:Choice xmlns:p14="http://schemas.microsoft.com/office/powerpoint/2010/main" Requires="p14">
          <p:contentPart p14:bwMode="auto" r:id="rId342">
            <p14:nvContentPartPr>
              <p14:cNvPr id="63" name="Ink 62">
                <a:extLst>
                  <a:ext uri="{FF2B5EF4-FFF2-40B4-BE49-F238E27FC236}">
                    <a16:creationId xmlns:a16="http://schemas.microsoft.com/office/drawing/2014/main" id="{0FD24987-57AD-D55A-A273-8907CFC64078}"/>
                  </a:ext>
                </a:extLst>
              </p14:cNvPr>
              <p14:cNvContentPartPr/>
              <p14:nvPr/>
            </p14:nvContentPartPr>
            <p14:xfrm>
              <a:off x="12437590" y="235715"/>
              <a:ext cx="433800" cy="1229760"/>
            </p14:xfrm>
          </p:contentPart>
        </mc:Choice>
        <mc:Fallback>
          <p:pic>
            <p:nvPicPr>
              <p:cNvPr id="63" name="Ink 62">
                <a:extLst>
                  <a:ext uri="{FF2B5EF4-FFF2-40B4-BE49-F238E27FC236}">
                    <a16:creationId xmlns:a16="http://schemas.microsoft.com/office/drawing/2014/main" id="{0FD24987-57AD-D55A-A273-8907CFC64078}"/>
                  </a:ext>
                </a:extLst>
              </p:cNvPr>
              <p:cNvPicPr/>
              <p:nvPr/>
            </p:nvPicPr>
            <p:blipFill>
              <a:blip r:embed="rId343"/>
              <a:stretch>
                <a:fillRect/>
              </a:stretch>
            </p:blipFill>
            <p:spPr>
              <a:xfrm>
                <a:off x="12383590" y="128075"/>
                <a:ext cx="541440" cy="1445400"/>
              </a:xfrm>
              <a:prstGeom prst="rect">
                <a:avLst/>
              </a:prstGeom>
            </p:spPr>
          </p:pic>
        </mc:Fallback>
      </mc:AlternateContent>
    </p:spTree>
    <p:extLst>
      <p:ext uri="{BB962C8B-B14F-4D97-AF65-F5344CB8AC3E}">
        <p14:creationId xmlns:p14="http://schemas.microsoft.com/office/powerpoint/2010/main" val="1145871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DE96118-7225-13D7-E003-B587BED177A9}"/>
              </a:ext>
            </a:extLst>
          </p:cNvPr>
          <p:cNvSpPr>
            <a:spLocks noGrp="1"/>
          </p:cNvSpPr>
          <p:nvPr>
            <p:ph type="dt" sz="half" idx="2"/>
          </p:nvPr>
        </p:nvSpPr>
        <p:spPr/>
        <p:txBody>
          <a:bodyPr/>
          <a:lstStyle/>
          <a:p>
            <a:pPr defTabSz="914377"/>
            <a:fld id="{2A32838C-5203-4A13-8D33-AC09A091C092}" type="datetime1">
              <a:rPr lang="en-US">
                <a:solidFill>
                  <a:prstClr val="white">
                    <a:lumMod val="85000"/>
                  </a:prstClr>
                </a:solidFill>
                <a:latin typeface="Arial" panose="020B0604020202020204"/>
              </a:rPr>
              <a:pPr defTabSz="914377"/>
              <a:t>9/24/2024</a:t>
            </a:fld>
            <a:endParaRPr lang="en-US" dirty="0">
              <a:solidFill>
                <a:prstClr val="white">
                  <a:lumMod val="85000"/>
                </a:prstClr>
              </a:solidFill>
              <a:latin typeface="Arial" panose="020B0604020202020204"/>
            </a:endParaRPr>
          </a:p>
        </p:txBody>
      </p:sp>
      <p:sp>
        <p:nvSpPr>
          <p:cNvPr id="9" name="Title 1">
            <a:extLst>
              <a:ext uri="{FF2B5EF4-FFF2-40B4-BE49-F238E27FC236}">
                <a16:creationId xmlns:a16="http://schemas.microsoft.com/office/drawing/2014/main" id="{26044ED5-CF9B-414B-5E78-309D0CDF9886}"/>
              </a:ext>
            </a:extLst>
          </p:cNvPr>
          <p:cNvSpPr>
            <a:spLocks noGrp="1"/>
          </p:cNvSpPr>
          <p:nvPr>
            <p:ph type="title"/>
          </p:nvPr>
        </p:nvSpPr>
        <p:spPr>
          <a:xfrm>
            <a:off x="373065" y="1"/>
            <a:ext cx="10512425" cy="581025"/>
          </a:xfrm>
        </p:spPr>
        <p:txBody>
          <a:bodyPr>
            <a:normAutofit/>
          </a:bodyPr>
          <a:lstStyle/>
          <a:p>
            <a:r>
              <a:rPr lang="en-US" sz="2800" dirty="0"/>
              <a:t>Workhour Analysis Section</a:t>
            </a:r>
          </a:p>
        </p:txBody>
      </p:sp>
      <p:grpSp>
        <p:nvGrpSpPr>
          <p:cNvPr id="2" name="Group 1">
            <a:extLst>
              <a:ext uri="{FF2B5EF4-FFF2-40B4-BE49-F238E27FC236}">
                <a16:creationId xmlns:a16="http://schemas.microsoft.com/office/drawing/2014/main" id="{C767B0A4-248A-57AD-1635-092DE7200DB6}"/>
              </a:ext>
            </a:extLst>
          </p:cNvPr>
          <p:cNvGrpSpPr/>
          <p:nvPr/>
        </p:nvGrpSpPr>
        <p:grpSpPr>
          <a:xfrm>
            <a:off x="33224" y="437189"/>
            <a:ext cx="11843017" cy="5280870"/>
            <a:chOff x="236439" y="644010"/>
            <a:chExt cx="11973120" cy="5774706"/>
          </a:xfrm>
        </p:grpSpPr>
        <p:pic>
          <p:nvPicPr>
            <p:cNvPr id="7" name="Picture 6">
              <a:extLst>
                <a:ext uri="{FF2B5EF4-FFF2-40B4-BE49-F238E27FC236}">
                  <a16:creationId xmlns:a16="http://schemas.microsoft.com/office/drawing/2014/main" id="{70958EB7-EF51-1EAE-D885-75B6C67536FC}"/>
                </a:ext>
              </a:extLst>
            </p:cNvPr>
            <p:cNvPicPr>
              <a:picLocks noChangeAspect="1"/>
            </p:cNvPicPr>
            <p:nvPr/>
          </p:nvPicPr>
          <p:blipFill rotWithShape="1">
            <a:blip r:embed="rId2"/>
            <a:srcRect t="1612"/>
            <a:stretch/>
          </p:blipFill>
          <p:spPr>
            <a:xfrm>
              <a:off x="5162549" y="644010"/>
              <a:ext cx="7047010" cy="5624488"/>
            </a:xfrm>
            <a:prstGeom prst="rect">
              <a:avLst/>
            </a:prstGeom>
          </p:spPr>
        </p:pic>
        <p:sp>
          <p:nvSpPr>
            <p:cNvPr id="8" name="TextBox 7">
              <a:extLst>
                <a:ext uri="{FF2B5EF4-FFF2-40B4-BE49-F238E27FC236}">
                  <a16:creationId xmlns:a16="http://schemas.microsoft.com/office/drawing/2014/main" id="{CC1CDB91-A347-6AAC-E6E6-02DDBB21CEC5}"/>
                </a:ext>
              </a:extLst>
            </p:cNvPr>
            <p:cNvSpPr txBox="1"/>
            <p:nvPr/>
          </p:nvSpPr>
          <p:spPr>
            <a:xfrm>
              <a:off x="236439" y="867753"/>
              <a:ext cx="4926110" cy="5550963"/>
            </a:xfrm>
            <a:prstGeom prst="rect">
              <a:avLst/>
            </a:prstGeom>
            <a:noFill/>
          </p:spPr>
          <p:txBody>
            <a:bodyPr wrap="square" rtlCol="0">
              <a:spAutoFit/>
            </a:bodyPr>
            <a:lstStyle/>
            <a:p>
              <a:pPr marL="285744" indent="-285744" defTabSz="914377">
                <a:buFont typeface="Arial" panose="020B0604020202020204" pitchFamily="34" charset="0"/>
                <a:buChar char="•"/>
              </a:pPr>
              <a:r>
                <a:rPr lang="en-US" dirty="0">
                  <a:solidFill>
                    <a:prstClr val="black"/>
                  </a:solidFill>
                  <a:latin typeface="Arial" panose="020B0604020202020204"/>
                </a:rPr>
                <a:t>Comparison of actual vs. earned and benchmark workhours</a:t>
              </a:r>
              <a:endParaRPr lang="en-US" sz="1799" dirty="0">
                <a:solidFill>
                  <a:prstClr val="black"/>
                </a:solidFill>
                <a:latin typeface="Arial" panose="020B0604020202020204"/>
              </a:endParaRPr>
            </a:p>
            <a:p>
              <a:pPr marL="285744" indent="-285744" defTabSz="914377">
                <a:buFont typeface="Arial" panose="020B0604020202020204" pitchFamily="34" charset="0"/>
                <a:buChar char="•"/>
              </a:pPr>
              <a:endParaRPr lang="en-US" sz="1799" b="1" dirty="0">
                <a:solidFill>
                  <a:prstClr val="black"/>
                </a:solidFill>
                <a:latin typeface="Arial" panose="020B0604020202020204"/>
              </a:endParaRPr>
            </a:p>
            <a:p>
              <a:pPr marL="285744" indent="-285744" defTabSz="914377">
                <a:buFont typeface="Arial" panose="020B0604020202020204" pitchFamily="34" charset="0"/>
                <a:buChar char="•"/>
              </a:pPr>
              <a:r>
                <a:rPr lang="en-US" sz="1799" b="1" dirty="0">
                  <a:solidFill>
                    <a:prstClr val="black"/>
                  </a:solidFill>
                  <a:latin typeface="Arial" panose="020B0604020202020204"/>
                </a:rPr>
                <a:t>Earned workhours- </a:t>
              </a:r>
              <a:r>
                <a:rPr lang="en-US" sz="1799" dirty="0">
                  <a:solidFill>
                    <a:prstClr val="black"/>
                  </a:solidFill>
                  <a:latin typeface="Arial" panose="020B0604020202020204"/>
                </a:rPr>
                <a:t>generated from workloads by LDC based on productivity expectations for each work element</a:t>
              </a:r>
            </a:p>
            <a:p>
              <a:pPr defTabSz="914377"/>
              <a:endParaRPr lang="en-US" sz="1799" dirty="0">
                <a:solidFill>
                  <a:prstClr val="black"/>
                </a:solidFill>
                <a:latin typeface="Arial" panose="020B0604020202020204"/>
              </a:endParaRPr>
            </a:p>
            <a:p>
              <a:pPr marL="285744" indent="-285744" defTabSz="914377">
                <a:buFont typeface="Arial" panose="020B0604020202020204" pitchFamily="34" charset="0"/>
                <a:buChar char="•"/>
              </a:pPr>
              <a:r>
                <a:rPr lang="en-US" sz="1799" b="1" dirty="0">
                  <a:solidFill>
                    <a:prstClr val="black"/>
                  </a:solidFill>
                  <a:latin typeface="Arial" panose="020B0604020202020204"/>
                </a:rPr>
                <a:t>Actual workhours- </a:t>
              </a:r>
              <a:r>
                <a:rPr lang="en-US" sz="1799" dirty="0">
                  <a:solidFill>
                    <a:prstClr val="black"/>
                  </a:solidFill>
                  <a:latin typeface="Arial" panose="020B0604020202020204"/>
                </a:rPr>
                <a:t>time reported for completed workload related to each LDC. </a:t>
              </a:r>
            </a:p>
            <a:p>
              <a:pPr defTabSz="914377"/>
              <a:endParaRPr lang="en-US" sz="1799" dirty="0">
                <a:solidFill>
                  <a:prstClr val="black"/>
                </a:solidFill>
                <a:latin typeface="Arial" panose="020B0604020202020204"/>
              </a:endParaRPr>
            </a:p>
            <a:p>
              <a:pPr marL="285744" indent="-285744" defTabSz="914377">
                <a:buFont typeface="Arial" panose="020B0604020202020204" pitchFamily="34" charset="0"/>
                <a:buChar char="•"/>
              </a:pPr>
              <a:r>
                <a:rPr lang="en-US" sz="1799" dirty="0">
                  <a:solidFill>
                    <a:prstClr val="black"/>
                  </a:solidFill>
                  <a:latin typeface="Arial" panose="020B0604020202020204"/>
                </a:rPr>
                <a:t>Sourced from Time and Attendance Collection System (TACS) through eFlash</a:t>
              </a:r>
            </a:p>
            <a:p>
              <a:pPr defTabSz="914377"/>
              <a:endParaRPr lang="en-US" sz="1799" dirty="0">
                <a:solidFill>
                  <a:prstClr val="black"/>
                </a:solidFill>
                <a:latin typeface="Arial" panose="020B0604020202020204"/>
              </a:endParaRPr>
            </a:p>
            <a:p>
              <a:pPr marL="285744" indent="-285744" defTabSz="914377">
                <a:buFont typeface="Arial" panose="020B0604020202020204" pitchFamily="34" charset="0"/>
                <a:buChar char="•"/>
              </a:pPr>
              <a:r>
                <a:rPr lang="en-US" sz="1799" dirty="0">
                  <a:solidFill>
                    <a:prstClr val="black"/>
                  </a:solidFill>
                  <a:latin typeface="Arial" panose="020B0604020202020204"/>
                </a:rPr>
                <a:t>Divided into three groups:</a:t>
              </a:r>
            </a:p>
            <a:p>
              <a:pPr marL="742932" lvl="1" indent="-285744" defTabSz="914377">
                <a:buFont typeface="Courier New" panose="02070309020205020404" pitchFamily="49" charset="0"/>
                <a:buChar char="o"/>
              </a:pPr>
              <a:r>
                <a:rPr lang="en-US" sz="1799" dirty="0">
                  <a:solidFill>
                    <a:prstClr val="black"/>
                  </a:solidFill>
                  <a:latin typeface="Arial" panose="020B0604020202020204"/>
                </a:rPr>
                <a:t>Automation/Mechanized – LDC 41</a:t>
              </a:r>
            </a:p>
            <a:p>
              <a:pPr marL="742932" lvl="1" indent="-285744" defTabSz="914377">
                <a:buFont typeface="Courier New" panose="02070309020205020404" pitchFamily="49" charset="0"/>
                <a:buChar char="o"/>
              </a:pPr>
              <a:r>
                <a:rPr lang="en-US" sz="1799" dirty="0">
                  <a:solidFill>
                    <a:prstClr val="black"/>
                  </a:solidFill>
                  <a:latin typeface="Arial" panose="020B0604020202020204"/>
                </a:rPr>
                <a:t>Manual Work Hour – LDC 43 &amp; 44</a:t>
              </a:r>
            </a:p>
            <a:p>
              <a:pPr marL="742932" lvl="1" indent="-285744" defTabSz="914377">
                <a:buFont typeface="Courier New" panose="02070309020205020404" pitchFamily="49" charset="0"/>
                <a:buChar char="o"/>
              </a:pPr>
              <a:r>
                <a:rPr lang="en-US" sz="1799" dirty="0">
                  <a:solidFill>
                    <a:prstClr val="black"/>
                  </a:solidFill>
                  <a:latin typeface="Arial" panose="020B0604020202020204"/>
                </a:rPr>
                <a:t>Retail/Administrative – LDC 42,45 &amp; 48</a:t>
              </a:r>
            </a:p>
          </p:txBody>
        </p:sp>
      </p:grpSp>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CD41FCF1-3B48-2229-CD4F-48B9FD0BEF8F}"/>
                  </a:ext>
                </a:extLst>
              </p14:cNvPr>
              <p14:cNvContentPartPr/>
              <p14:nvPr/>
            </p14:nvContentPartPr>
            <p14:xfrm>
              <a:off x="11208990" y="2236200"/>
              <a:ext cx="964440" cy="3423960"/>
            </p14:xfrm>
          </p:contentPart>
        </mc:Choice>
        <mc:Fallback xmlns="">
          <p:pic>
            <p:nvPicPr>
              <p:cNvPr id="3" name="Ink 2">
                <a:extLst>
                  <a:ext uri="{FF2B5EF4-FFF2-40B4-BE49-F238E27FC236}">
                    <a16:creationId xmlns:a16="http://schemas.microsoft.com/office/drawing/2014/main" id="{CD41FCF1-3B48-2229-CD4F-48B9FD0BEF8F}"/>
                  </a:ext>
                </a:extLst>
              </p:cNvPr>
              <p:cNvPicPr/>
              <p:nvPr/>
            </p:nvPicPr>
            <p:blipFill>
              <a:blip r:embed="rId4"/>
              <a:stretch>
                <a:fillRect/>
              </a:stretch>
            </p:blipFill>
            <p:spPr>
              <a:xfrm>
                <a:off x="11190990" y="2200200"/>
                <a:ext cx="1000080" cy="34956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5" name="Ink 4">
                <a:extLst>
                  <a:ext uri="{FF2B5EF4-FFF2-40B4-BE49-F238E27FC236}">
                    <a16:creationId xmlns:a16="http://schemas.microsoft.com/office/drawing/2014/main" id="{CE5D2F6F-8EB0-41E6-326B-7D6DB5050AE2}"/>
                  </a:ext>
                </a:extLst>
              </p14:cNvPr>
              <p14:cNvContentPartPr/>
              <p14:nvPr/>
            </p14:nvContentPartPr>
            <p14:xfrm>
              <a:off x="4985310" y="3350040"/>
              <a:ext cx="1105920" cy="203400"/>
            </p14:xfrm>
          </p:contentPart>
        </mc:Choice>
        <mc:Fallback xmlns="">
          <p:pic>
            <p:nvPicPr>
              <p:cNvPr id="5" name="Ink 4">
                <a:extLst>
                  <a:ext uri="{FF2B5EF4-FFF2-40B4-BE49-F238E27FC236}">
                    <a16:creationId xmlns:a16="http://schemas.microsoft.com/office/drawing/2014/main" id="{CE5D2F6F-8EB0-41E6-326B-7D6DB5050AE2}"/>
                  </a:ext>
                </a:extLst>
              </p:cNvPr>
              <p:cNvPicPr/>
              <p:nvPr/>
            </p:nvPicPr>
            <p:blipFill>
              <a:blip r:embed="rId6"/>
              <a:stretch>
                <a:fillRect/>
              </a:stretch>
            </p:blipFill>
            <p:spPr>
              <a:xfrm>
                <a:off x="4967310" y="3314400"/>
                <a:ext cx="1141560" cy="27504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22" name="Ink 21">
                <a:extLst>
                  <a:ext uri="{FF2B5EF4-FFF2-40B4-BE49-F238E27FC236}">
                    <a16:creationId xmlns:a16="http://schemas.microsoft.com/office/drawing/2014/main" id="{9B585202-A635-E110-30BC-70D1413B528E}"/>
                  </a:ext>
                </a:extLst>
              </p14:cNvPr>
              <p14:cNvContentPartPr/>
              <p14:nvPr/>
            </p14:nvContentPartPr>
            <p14:xfrm>
              <a:off x="12106110" y="2981040"/>
              <a:ext cx="175680" cy="271440"/>
            </p14:xfrm>
          </p:contentPart>
        </mc:Choice>
        <mc:Fallback xmlns="">
          <p:pic>
            <p:nvPicPr>
              <p:cNvPr id="22" name="Ink 21">
                <a:extLst>
                  <a:ext uri="{FF2B5EF4-FFF2-40B4-BE49-F238E27FC236}">
                    <a16:creationId xmlns:a16="http://schemas.microsoft.com/office/drawing/2014/main" id="{9B585202-A635-E110-30BC-70D1413B528E}"/>
                  </a:ext>
                </a:extLst>
              </p:cNvPr>
              <p:cNvPicPr/>
              <p:nvPr/>
            </p:nvPicPr>
            <p:blipFill>
              <a:blip r:embed="rId8"/>
              <a:stretch>
                <a:fillRect/>
              </a:stretch>
            </p:blipFill>
            <p:spPr>
              <a:xfrm>
                <a:off x="12099990" y="2974920"/>
                <a:ext cx="187920" cy="2836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24" name="Ink 23">
                <a:extLst>
                  <a:ext uri="{FF2B5EF4-FFF2-40B4-BE49-F238E27FC236}">
                    <a16:creationId xmlns:a16="http://schemas.microsoft.com/office/drawing/2014/main" id="{014F756C-4ADC-DA23-7AC6-59CC06F32AF7}"/>
                  </a:ext>
                </a:extLst>
              </p14:cNvPr>
              <p14:cNvContentPartPr/>
              <p14:nvPr/>
            </p14:nvContentPartPr>
            <p14:xfrm>
              <a:off x="12399870" y="3028560"/>
              <a:ext cx="131400" cy="212400"/>
            </p14:xfrm>
          </p:contentPart>
        </mc:Choice>
        <mc:Fallback xmlns="">
          <p:pic>
            <p:nvPicPr>
              <p:cNvPr id="24" name="Ink 23">
                <a:extLst>
                  <a:ext uri="{FF2B5EF4-FFF2-40B4-BE49-F238E27FC236}">
                    <a16:creationId xmlns:a16="http://schemas.microsoft.com/office/drawing/2014/main" id="{014F756C-4ADC-DA23-7AC6-59CC06F32AF7}"/>
                  </a:ext>
                </a:extLst>
              </p:cNvPr>
              <p:cNvPicPr/>
              <p:nvPr/>
            </p:nvPicPr>
            <p:blipFill>
              <a:blip r:embed="rId10"/>
              <a:stretch>
                <a:fillRect/>
              </a:stretch>
            </p:blipFill>
            <p:spPr>
              <a:xfrm>
                <a:off x="12393750" y="3022440"/>
                <a:ext cx="143640" cy="22464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51" name="Ink 50">
                <a:extLst>
                  <a:ext uri="{FF2B5EF4-FFF2-40B4-BE49-F238E27FC236}">
                    <a16:creationId xmlns:a16="http://schemas.microsoft.com/office/drawing/2014/main" id="{35318A0C-5E1B-4FA3-A3A2-3C617E84F2BA}"/>
                  </a:ext>
                </a:extLst>
              </p14:cNvPr>
              <p14:cNvContentPartPr/>
              <p14:nvPr/>
            </p14:nvContentPartPr>
            <p14:xfrm>
              <a:off x="9724350" y="4798320"/>
              <a:ext cx="505800" cy="289080"/>
            </p14:xfrm>
          </p:contentPart>
        </mc:Choice>
        <mc:Fallback xmlns="">
          <p:pic>
            <p:nvPicPr>
              <p:cNvPr id="51" name="Ink 50">
                <a:extLst>
                  <a:ext uri="{FF2B5EF4-FFF2-40B4-BE49-F238E27FC236}">
                    <a16:creationId xmlns:a16="http://schemas.microsoft.com/office/drawing/2014/main" id="{35318A0C-5E1B-4FA3-A3A2-3C617E84F2BA}"/>
                  </a:ext>
                </a:extLst>
              </p:cNvPr>
              <p:cNvPicPr/>
              <p:nvPr/>
            </p:nvPicPr>
            <p:blipFill>
              <a:blip r:embed="rId14"/>
              <a:stretch>
                <a:fillRect/>
              </a:stretch>
            </p:blipFill>
            <p:spPr>
              <a:xfrm>
                <a:off x="9718230" y="4792200"/>
                <a:ext cx="518040" cy="30132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52" name="Ink 51">
                <a:extLst>
                  <a:ext uri="{FF2B5EF4-FFF2-40B4-BE49-F238E27FC236}">
                    <a16:creationId xmlns:a16="http://schemas.microsoft.com/office/drawing/2014/main" id="{198E8F23-FEE3-4592-4C11-63C2A34FACBC}"/>
                  </a:ext>
                </a:extLst>
              </p14:cNvPr>
              <p14:cNvContentPartPr/>
              <p14:nvPr/>
            </p14:nvContentPartPr>
            <p14:xfrm>
              <a:off x="10210710" y="5074080"/>
              <a:ext cx="2050920" cy="756000"/>
            </p14:xfrm>
          </p:contentPart>
        </mc:Choice>
        <mc:Fallback xmlns="">
          <p:pic>
            <p:nvPicPr>
              <p:cNvPr id="52" name="Ink 51">
                <a:extLst>
                  <a:ext uri="{FF2B5EF4-FFF2-40B4-BE49-F238E27FC236}">
                    <a16:creationId xmlns:a16="http://schemas.microsoft.com/office/drawing/2014/main" id="{198E8F23-FEE3-4592-4C11-63C2A34FACBC}"/>
                  </a:ext>
                </a:extLst>
              </p:cNvPr>
              <p:cNvPicPr/>
              <p:nvPr/>
            </p:nvPicPr>
            <p:blipFill>
              <a:blip r:embed="rId16"/>
              <a:stretch>
                <a:fillRect/>
              </a:stretch>
            </p:blipFill>
            <p:spPr>
              <a:xfrm>
                <a:off x="10204590" y="5067960"/>
                <a:ext cx="2063160" cy="7682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53" name="Ink 52">
                <a:extLst>
                  <a:ext uri="{FF2B5EF4-FFF2-40B4-BE49-F238E27FC236}">
                    <a16:creationId xmlns:a16="http://schemas.microsoft.com/office/drawing/2014/main" id="{BE3BF81F-4570-1D11-7A70-DC2C5AEAA3EA}"/>
                  </a:ext>
                </a:extLst>
              </p14:cNvPr>
              <p14:cNvContentPartPr/>
              <p14:nvPr/>
            </p14:nvContentPartPr>
            <p14:xfrm>
              <a:off x="10210350" y="5067240"/>
              <a:ext cx="10080" cy="141840"/>
            </p14:xfrm>
          </p:contentPart>
        </mc:Choice>
        <mc:Fallback xmlns="">
          <p:pic>
            <p:nvPicPr>
              <p:cNvPr id="53" name="Ink 52">
                <a:extLst>
                  <a:ext uri="{FF2B5EF4-FFF2-40B4-BE49-F238E27FC236}">
                    <a16:creationId xmlns:a16="http://schemas.microsoft.com/office/drawing/2014/main" id="{BE3BF81F-4570-1D11-7A70-DC2C5AEAA3EA}"/>
                  </a:ext>
                </a:extLst>
              </p:cNvPr>
              <p:cNvPicPr/>
              <p:nvPr/>
            </p:nvPicPr>
            <p:blipFill>
              <a:blip r:embed="rId18"/>
              <a:stretch>
                <a:fillRect/>
              </a:stretch>
            </p:blipFill>
            <p:spPr>
              <a:xfrm>
                <a:off x="10204230" y="5061120"/>
                <a:ext cx="22320" cy="15408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55" name="Ink 54">
                <a:extLst>
                  <a:ext uri="{FF2B5EF4-FFF2-40B4-BE49-F238E27FC236}">
                    <a16:creationId xmlns:a16="http://schemas.microsoft.com/office/drawing/2014/main" id="{E370EF80-43B3-8532-F51F-CBC2410835A6}"/>
                  </a:ext>
                </a:extLst>
              </p14:cNvPr>
              <p14:cNvContentPartPr/>
              <p14:nvPr/>
            </p14:nvContentPartPr>
            <p14:xfrm>
              <a:off x="11934750" y="3252840"/>
              <a:ext cx="329040" cy="176400"/>
            </p14:xfrm>
          </p:contentPart>
        </mc:Choice>
        <mc:Fallback xmlns="">
          <p:pic>
            <p:nvPicPr>
              <p:cNvPr id="55" name="Ink 54">
                <a:extLst>
                  <a:ext uri="{FF2B5EF4-FFF2-40B4-BE49-F238E27FC236}">
                    <a16:creationId xmlns:a16="http://schemas.microsoft.com/office/drawing/2014/main" id="{E370EF80-43B3-8532-F51F-CBC2410835A6}"/>
                  </a:ext>
                </a:extLst>
              </p:cNvPr>
              <p:cNvPicPr/>
              <p:nvPr/>
            </p:nvPicPr>
            <p:blipFill>
              <a:blip r:embed="rId20"/>
              <a:stretch>
                <a:fillRect/>
              </a:stretch>
            </p:blipFill>
            <p:spPr>
              <a:xfrm>
                <a:off x="11928630" y="3246720"/>
                <a:ext cx="341280" cy="18864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59" name="Ink 58">
                <a:extLst>
                  <a:ext uri="{FF2B5EF4-FFF2-40B4-BE49-F238E27FC236}">
                    <a16:creationId xmlns:a16="http://schemas.microsoft.com/office/drawing/2014/main" id="{1541AA77-599C-5E82-C50E-F1790E1383D5}"/>
                  </a:ext>
                </a:extLst>
              </p14:cNvPr>
              <p14:cNvContentPartPr/>
              <p14:nvPr/>
            </p14:nvContentPartPr>
            <p14:xfrm>
              <a:off x="12902430" y="2257080"/>
              <a:ext cx="4320" cy="8280"/>
            </p14:xfrm>
          </p:contentPart>
        </mc:Choice>
        <mc:Fallback xmlns="">
          <p:pic>
            <p:nvPicPr>
              <p:cNvPr id="59" name="Ink 58">
                <a:extLst>
                  <a:ext uri="{FF2B5EF4-FFF2-40B4-BE49-F238E27FC236}">
                    <a16:creationId xmlns:a16="http://schemas.microsoft.com/office/drawing/2014/main" id="{1541AA77-599C-5E82-C50E-F1790E1383D5}"/>
                  </a:ext>
                </a:extLst>
              </p:cNvPr>
              <p:cNvPicPr/>
              <p:nvPr/>
            </p:nvPicPr>
            <p:blipFill>
              <a:blip r:embed="rId22"/>
              <a:stretch>
                <a:fillRect/>
              </a:stretch>
            </p:blipFill>
            <p:spPr>
              <a:xfrm>
                <a:off x="12896310" y="2250960"/>
                <a:ext cx="16560" cy="20520"/>
              </a:xfrm>
              <a:prstGeom prst="rect">
                <a:avLst/>
              </a:prstGeom>
            </p:spPr>
          </p:pic>
        </mc:Fallback>
      </mc:AlternateContent>
      <p:grpSp>
        <p:nvGrpSpPr>
          <p:cNvPr id="70" name="Group 69">
            <a:extLst>
              <a:ext uri="{FF2B5EF4-FFF2-40B4-BE49-F238E27FC236}">
                <a16:creationId xmlns:a16="http://schemas.microsoft.com/office/drawing/2014/main" id="{8E7A98CD-1E61-34F3-3086-423F890857C7}"/>
              </a:ext>
            </a:extLst>
          </p:cNvPr>
          <p:cNvGrpSpPr/>
          <p:nvPr/>
        </p:nvGrpSpPr>
        <p:grpSpPr>
          <a:xfrm>
            <a:off x="10963830" y="1921920"/>
            <a:ext cx="2380680" cy="3709800"/>
            <a:chOff x="10963830" y="1921920"/>
            <a:chExt cx="2380680" cy="3709800"/>
          </a:xfrm>
        </p:grpSpPr>
        <mc:AlternateContent xmlns:mc="http://schemas.openxmlformats.org/markup-compatibility/2006" xmlns:p14="http://schemas.microsoft.com/office/powerpoint/2010/main">
          <mc:Choice Requires="p14">
            <p:contentPart p14:bwMode="auto" r:id="rId23">
              <p14:nvContentPartPr>
                <p14:cNvPr id="40" name="Ink 39">
                  <a:extLst>
                    <a:ext uri="{FF2B5EF4-FFF2-40B4-BE49-F238E27FC236}">
                      <a16:creationId xmlns:a16="http://schemas.microsoft.com/office/drawing/2014/main" id="{D75CE4E6-87B6-0212-878D-284D9AE0A873}"/>
                    </a:ext>
                  </a:extLst>
                </p14:cNvPr>
                <p14:cNvContentPartPr/>
                <p14:nvPr/>
              </p14:nvContentPartPr>
              <p14:xfrm>
                <a:off x="12372870" y="5395560"/>
                <a:ext cx="154800" cy="126720"/>
              </p14:xfrm>
            </p:contentPart>
          </mc:Choice>
          <mc:Fallback xmlns="">
            <p:pic>
              <p:nvPicPr>
                <p:cNvPr id="40" name="Ink 39">
                  <a:extLst>
                    <a:ext uri="{FF2B5EF4-FFF2-40B4-BE49-F238E27FC236}">
                      <a16:creationId xmlns:a16="http://schemas.microsoft.com/office/drawing/2014/main" id="{D75CE4E6-87B6-0212-878D-284D9AE0A873}"/>
                    </a:ext>
                  </a:extLst>
                </p:cNvPr>
                <p:cNvPicPr/>
                <p:nvPr/>
              </p:nvPicPr>
              <p:blipFill>
                <a:blip r:embed="rId28"/>
                <a:stretch>
                  <a:fillRect/>
                </a:stretch>
              </p:blipFill>
              <p:spPr>
                <a:xfrm>
                  <a:off x="12366750" y="5389440"/>
                  <a:ext cx="167040" cy="13896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41" name="Ink 40">
                  <a:extLst>
                    <a:ext uri="{FF2B5EF4-FFF2-40B4-BE49-F238E27FC236}">
                      <a16:creationId xmlns:a16="http://schemas.microsoft.com/office/drawing/2014/main" id="{0A9F6F9A-3D19-F1BD-9F28-7CF32AD439C8}"/>
                    </a:ext>
                  </a:extLst>
                </p14:cNvPr>
                <p14:cNvContentPartPr/>
                <p14:nvPr/>
              </p14:nvContentPartPr>
              <p14:xfrm>
                <a:off x="12571950" y="5409600"/>
                <a:ext cx="108360" cy="134640"/>
              </p14:xfrm>
            </p:contentPart>
          </mc:Choice>
          <mc:Fallback xmlns="">
            <p:pic>
              <p:nvPicPr>
                <p:cNvPr id="41" name="Ink 40">
                  <a:extLst>
                    <a:ext uri="{FF2B5EF4-FFF2-40B4-BE49-F238E27FC236}">
                      <a16:creationId xmlns:a16="http://schemas.microsoft.com/office/drawing/2014/main" id="{0A9F6F9A-3D19-F1BD-9F28-7CF32AD439C8}"/>
                    </a:ext>
                  </a:extLst>
                </p:cNvPr>
                <p:cNvPicPr/>
                <p:nvPr/>
              </p:nvPicPr>
              <p:blipFill>
                <a:blip r:embed="rId30"/>
                <a:stretch>
                  <a:fillRect/>
                </a:stretch>
              </p:blipFill>
              <p:spPr>
                <a:xfrm>
                  <a:off x="12565830" y="5403480"/>
                  <a:ext cx="120600" cy="14688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43" name="Ink 42">
                  <a:extLst>
                    <a:ext uri="{FF2B5EF4-FFF2-40B4-BE49-F238E27FC236}">
                      <a16:creationId xmlns:a16="http://schemas.microsoft.com/office/drawing/2014/main" id="{FF563473-F8F2-C3C6-3968-A107FD31E87D}"/>
                    </a:ext>
                  </a:extLst>
                </p14:cNvPr>
                <p14:cNvContentPartPr/>
                <p14:nvPr/>
              </p14:nvContentPartPr>
              <p14:xfrm>
                <a:off x="12772110" y="5247960"/>
                <a:ext cx="6840" cy="249120"/>
              </p14:xfrm>
            </p:contentPart>
          </mc:Choice>
          <mc:Fallback xmlns="">
            <p:pic>
              <p:nvPicPr>
                <p:cNvPr id="43" name="Ink 42">
                  <a:extLst>
                    <a:ext uri="{FF2B5EF4-FFF2-40B4-BE49-F238E27FC236}">
                      <a16:creationId xmlns:a16="http://schemas.microsoft.com/office/drawing/2014/main" id="{FF563473-F8F2-C3C6-3968-A107FD31E87D}"/>
                    </a:ext>
                  </a:extLst>
                </p:cNvPr>
                <p:cNvPicPr/>
                <p:nvPr/>
              </p:nvPicPr>
              <p:blipFill>
                <a:blip r:embed="rId32"/>
                <a:stretch>
                  <a:fillRect/>
                </a:stretch>
              </p:blipFill>
              <p:spPr>
                <a:xfrm>
                  <a:off x="12765990" y="5241840"/>
                  <a:ext cx="19080" cy="26136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44" name="Ink 43">
                  <a:extLst>
                    <a:ext uri="{FF2B5EF4-FFF2-40B4-BE49-F238E27FC236}">
                      <a16:creationId xmlns:a16="http://schemas.microsoft.com/office/drawing/2014/main" id="{4E3B4225-4F52-6DBE-D099-FF6B4D2971E2}"/>
                    </a:ext>
                  </a:extLst>
                </p14:cNvPr>
                <p14:cNvContentPartPr/>
                <p14:nvPr/>
              </p14:nvContentPartPr>
              <p14:xfrm>
                <a:off x="12687150" y="5350200"/>
                <a:ext cx="178920" cy="13320"/>
              </p14:xfrm>
            </p:contentPart>
          </mc:Choice>
          <mc:Fallback xmlns="">
            <p:pic>
              <p:nvPicPr>
                <p:cNvPr id="44" name="Ink 43">
                  <a:extLst>
                    <a:ext uri="{FF2B5EF4-FFF2-40B4-BE49-F238E27FC236}">
                      <a16:creationId xmlns:a16="http://schemas.microsoft.com/office/drawing/2014/main" id="{4E3B4225-4F52-6DBE-D099-FF6B4D2971E2}"/>
                    </a:ext>
                  </a:extLst>
                </p:cNvPr>
                <p:cNvPicPr/>
                <p:nvPr/>
              </p:nvPicPr>
              <p:blipFill>
                <a:blip r:embed="rId34"/>
                <a:stretch>
                  <a:fillRect/>
                </a:stretch>
              </p:blipFill>
              <p:spPr>
                <a:xfrm>
                  <a:off x="12681030" y="5344080"/>
                  <a:ext cx="191160" cy="2556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46" name="Ink 45">
                  <a:extLst>
                    <a:ext uri="{FF2B5EF4-FFF2-40B4-BE49-F238E27FC236}">
                      <a16:creationId xmlns:a16="http://schemas.microsoft.com/office/drawing/2014/main" id="{4447DB59-2618-0E4C-B978-6EA502825E57}"/>
                    </a:ext>
                  </a:extLst>
                </p14:cNvPr>
                <p14:cNvContentPartPr/>
                <p14:nvPr/>
              </p14:nvContentPartPr>
              <p14:xfrm>
                <a:off x="12926910" y="5400600"/>
                <a:ext cx="67680" cy="231120"/>
              </p14:xfrm>
            </p:contentPart>
          </mc:Choice>
          <mc:Fallback xmlns="">
            <p:pic>
              <p:nvPicPr>
                <p:cNvPr id="46" name="Ink 45">
                  <a:extLst>
                    <a:ext uri="{FF2B5EF4-FFF2-40B4-BE49-F238E27FC236}">
                      <a16:creationId xmlns:a16="http://schemas.microsoft.com/office/drawing/2014/main" id="{4447DB59-2618-0E4C-B978-6EA502825E57}"/>
                    </a:ext>
                  </a:extLst>
                </p:cNvPr>
                <p:cNvPicPr/>
                <p:nvPr/>
              </p:nvPicPr>
              <p:blipFill>
                <a:blip r:embed="rId36"/>
                <a:stretch>
                  <a:fillRect/>
                </a:stretch>
              </p:blipFill>
              <p:spPr>
                <a:xfrm>
                  <a:off x="12920790" y="5394480"/>
                  <a:ext cx="79920" cy="2433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47" name="Ink 46">
                  <a:extLst>
                    <a:ext uri="{FF2B5EF4-FFF2-40B4-BE49-F238E27FC236}">
                      <a16:creationId xmlns:a16="http://schemas.microsoft.com/office/drawing/2014/main" id="{9FB0A7FB-F016-3FF0-8C90-A1A36485A83E}"/>
                    </a:ext>
                  </a:extLst>
                </p14:cNvPr>
                <p14:cNvContentPartPr/>
                <p14:nvPr/>
              </p14:nvContentPartPr>
              <p14:xfrm>
                <a:off x="13038870" y="5407800"/>
                <a:ext cx="59760" cy="99000"/>
              </p14:xfrm>
            </p:contentPart>
          </mc:Choice>
          <mc:Fallback xmlns="">
            <p:pic>
              <p:nvPicPr>
                <p:cNvPr id="47" name="Ink 46">
                  <a:extLst>
                    <a:ext uri="{FF2B5EF4-FFF2-40B4-BE49-F238E27FC236}">
                      <a16:creationId xmlns:a16="http://schemas.microsoft.com/office/drawing/2014/main" id="{9FB0A7FB-F016-3FF0-8C90-A1A36485A83E}"/>
                    </a:ext>
                  </a:extLst>
                </p:cNvPr>
                <p:cNvPicPr/>
                <p:nvPr/>
              </p:nvPicPr>
              <p:blipFill>
                <a:blip r:embed="rId38"/>
                <a:stretch>
                  <a:fillRect/>
                </a:stretch>
              </p:blipFill>
              <p:spPr>
                <a:xfrm>
                  <a:off x="13032750" y="5401680"/>
                  <a:ext cx="72000" cy="11124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48" name="Ink 47">
                  <a:extLst>
                    <a:ext uri="{FF2B5EF4-FFF2-40B4-BE49-F238E27FC236}">
                      <a16:creationId xmlns:a16="http://schemas.microsoft.com/office/drawing/2014/main" id="{2D46BA5B-8522-B69E-3A64-10896714A18D}"/>
                    </a:ext>
                  </a:extLst>
                </p14:cNvPr>
                <p14:cNvContentPartPr/>
                <p14:nvPr/>
              </p14:nvContentPartPr>
              <p14:xfrm>
                <a:off x="13144710" y="5400600"/>
                <a:ext cx="69120" cy="107640"/>
              </p14:xfrm>
            </p:contentPart>
          </mc:Choice>
          <mc:Fallback xmlns="">
            <p:pic>
              <p:nvPicPr>
                <p:cNvPr id="48" name="Ink 47">
                  <a:extLst>
                    <a:ext uri="{FF2B5EF4-FFF2-40B4-BE49-F238E27FC236}">
                      <a16:creationId xmlns:a16="http://schemas.microsoft.com/office/drawing/2014/main" id="{2D46BA5B-8522-B69E-3A64-10896714A18D}"/>
                    </a:ext>
                  </a:extLst>
                </p:cNvPr>
                <p:cNvPicPr/>
                <p:nvPr/>
              </p:nvPicPr>
              <p:blipFill>
                <a:blip r:embed="rId40"/>
                <a:stretch>
                  <a:fillRect/>
                </a:stretch>
              </p:blipFill>
              <p:spPr>
                <a:xfrm>
                  <a:off x="13138590" y="5394480"/>
                  <a:ext cx="81360" cy="11988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49" name="Ink 48">
                  <a:extLst>
                    <a:ext uri="{FF2B5EF4-FFF2-40B4-BE49-F238E27FC236}">
                      <a16:creationId xmlns:a16="http://schemas.microsoft.com/office/drawing/2014/main" id="{76A181B6-CB6C-0126-3844-ADB41EDC01B9}"/>
                    </a:ext>
                  </a:extLst>
                </p14:cNvPr>
                <p14:cNvContentPartPr/>
                <p14:nvPr/>
              </p14:nvContentPartPr>
              <p14:xfrm>
                <a:off x="13275750" y="5238600"/>
                <a:ext cx="68760" cy="271080"/>
              </p14:xfrm>
            </p:contentPart>
          </mc:Choice>
          <mc:Fallback xmlns="">
            <p:pic>
              <p:nvPicPr>
                <p:cNvPr id="49" name="Ink 48">
                  <a:extLst>
                    <a:ext uri="{FF2B5EF4-FFF2-40B4-BE49-F238E27FC236}">
                      <a16:creationId xmlns:a16="http://schemas.microsoft.com/office/drawing/2014/main" id="{76A181B6-CB6C-0126-3844-ADB41EDC01B9}"/>
                    </a:ext>
                  </a:extLst>
                </p:cNvPr>
                <p:cNvPicPr/>
                <p:nvPr/>
              </p:nvPicPr>
              <p:blipFill>
                <a:blip r:embed="rId42"/>
                <a:stretch>
                  <a:fillRect/>
                </a:stretch>
              </p:blipFill>
              <p:spPr>
                <a:xfrm>
                  <a:off x="13269630" y="5232480"/>
                  <a:ext cx="81000" cy="28332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37" name="Ink 36">
                  <a:extLst>
                    <a:ext uri="{FF2B5EF4-FFF2-40B4-BE49-F238E27FC236}">
                      <a16:creationId xmlns:a16="http://schemas.microsoft.com/office/drawing/2014/main" id="{B1C00D4C-B086-EBBC-EE7B-C7467B192AFF}"/>
                    </a:ext>
                  </a:extLst>
                </p14:cNvPr>
                <p14:cNvContentPartPr/>
                <p14:nvPr/>
              </p14:nvContentPartPr>
              <p14:xfrm>
                <a:off x="11879310" y="5395920"/>
                <a:ext cx="389160" cy="72000"/>
              </p14:xfrm>
            </p:contentPart>
          </mc:Choice>
          <mc:Fallback xmlns="">
            <p:pic>
              <p:nvPicPr>
                <p:cNvPr id="37" name="Ink 36">
                  <a:extLst>
                    <a:ext uri="{FF2B5EF4-FFF2-40B4-BE49-F238E27FC236}">
                      <a16:creationId xmlns:a16="http://schemas.microsoft.com/office/drawing/2014/main" id="{B1C00D4C-B086-EBBC-EE7B-C7467B192AFF}"/>
                    </a:ext>
                  </a:extLst>
                </p:cNvPr>
                <p:cNvPicPr/>
                <p:nvPr/>
              </p:nvPicPr>
              <p:blipFill>
                <a:blip r:embed="rId44"/>
                <a:stretch>
                  <a:fillRect/>
                </a:stretch>
              </p:blipFill>
              <p:spPr>
                <a:xfrm>
                  <a:off x="11873190" y="5389800"/>
                  <a:ext cx="401400" cy="8424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38" name="Ink 37">
                  <a:extLst>
                    <a:ext uri="{FF2B5EF4-FFF2-40B4-BE49-F238E27FC236}">
                      <a16:creationId xmlns:a16="http://schemas.microsoft.com/office/drawing/2014/main" id="{099A6683-49EE-EE75-978E-314A622BCC45}"/>
                    </a:ext>
                  </a:extLst>
                </p14:cNvPr>
                <p14:cNvContentPartPr/>
                <p14:nvPr/>
              </p14:nvContentPartPr>
              <p14:xfrm>
                <a:off x="11887230" y="5476560"/>
                <a:ext cx="98280" cy="54360"/>
              </p14:xfrm>
            </p:contentPart>
          </mc:Choice>
          <mc:Fallback xmlns="">
            <p:pic>
              <p:nvPicPr>
                <p:cNvPr id="38" name="Ink 37">
                  <a:extLst>
                    <a:ext uri="{FF2B5EF4-FFF2-40B4-BE49-F238E27FC236}">
                      <a16:creationId xmlns:a16="http://schemas.microsoft.com/office/drawing/2014/main" id="{099A6683-49EE-EE75-978E-314A622BCC45}"/>
                    </a:ext>
                  </a:extLst>
                </p:cNvPr>
                <p:cNvPicPr/>
                <p:nvPr/>
              </p:nvPicPr>
              <p:blipFill>
                <a:blip r:embed="rId46"/>
                <a:stretch>
                  <a:fillRect/>
                </a:stretch>
              </p:blipFill>
              <p:spPr>
                <a:xfrm>
                  <a:off x="11881110" y="5470440"/>
                  <a:ext cx="110520" cy="66600"/>
                </a:xfrm>
                <a:prstGeom prst="rect">
                  <a:avLst/>
                </a:prstGeom>
              </p:spPr>
            </p:pic>
          </mc:Fallback>
        </mc:AlternateContent>
        <mc:AlternateContent xmlns:mc="http://schemas.openxmlformats.org/markup-compatibility/2006" xmlns:p14="http://schemas.microsoft.com/office/powerpoint/2010/main">
          <mc:Choice Requires="p14">
            <p:contentPart p14:bwMode="auto" r:id="rId47">
              <p14:nvContentPartPr>
                <p14:cNvPr id="6" name="Ink 5">
                  <a:extLst>
                    <a:ext uri="{FF2B5EF4-FFF2-40B4-BE49-F238E27FC236}">
                      <a16:creationId xmlns:a16="http://schemas.microsoft.com/office/drawing/2014/main" id="{3796F7AE-17FB-80D2-986A-6693183B5102}"/>
                    </a:ext>
                  </a:extLst>
                </p14:cNvPr>
                <p14:cNvContentPartPr/>
                <p14:nvPr/>
              </p14:nvContentPartPr>
              <p14:xfrm>
                <a:off x="11867070" y="2293080"/>
                <a:ext cx="991800" cy="203400"/>
              </p14:xfrm>
            </p:contentPart>
          </mc:Choice>
          <mc:Fallback xmlns="">
            <p:pic>
              <p:nvPicPr>
                <p:cNvPr id="6" name="Ink 5">
                  <a:extLst>
                    <a:ext uri="{FF2B5EF4-FFF2-40B4-BE49-F238E27FC236}">
                      <a16:creationId xmlns:a16="http://schemas.microsoft.com/office/drawing/2014/main" id="{3796F7AE-17FB-80D2-986A-6693183B5102}"/>
                    </a:ext>
                  </a:extLst>
                </p:cNvPr>
                <p:cNvPicPr/>
                <p:nvPr/>
              </p:nvPicPr>
              <p:blipFill>
                <a:blip r:embed="rId48"/>
                <a:stretch>
                  <a:fillRect/>
                </a:stretch>
              </p:blipFill>
              <p:spPr>
                <a:xfrm>
                  <a:off x="11860950" y="2286960"/>
                  <a:ext cx="1004040" cy="215640"/>
                </a:xfrm>
                <a:prstGeom prst="rect">
                  <a:avLst/>
                </a:prstGeom>
              </p:spPr>
            </p:pic>
          </mc:Fallback>
        </mc:AlternateContent>
        <mc:AlternateContent xmlns:mc="http://schemas.openxmlformats.org/markup-compatibility/2006" xmlns:p14="http://schemas.microsoft.com/office/powerpoint/2010/main">
          <mc:Choice Requires="p14">
            <p:contentPart p14:bwMode="auto" r:id="rId49">
              <p14:nvContentPartPr>
                <p14:cNvPr id="10" name="Ink 9">
                  <a:extLst>
                    <a:ext uri="{FF2B5EF4-FFF2-40B4-BE49-F238E27FC236}">
                      <a16:creationId xmlns:a16="http://schemas.microsoft.com/office/drawing/2014/main" id="{8C76DEEC-D09E-65A6-AFF5-081B3252A57E}"/>
                    </a:ext>
                  </a:extLst>
                </p14:cNvPr>
                <p14:cNvContentPartPr/>
                <p14:nvPr/>
              </p14:nvContentPartPr>
              <p14:xfrm>
                <a:off x="11858430" y="2447520"/>
                <a:ext cx="144000" cy="85680"/>
              </p14:xfrm>
            </p:contentPart>
          </mc:Choice>
          <mc:Fallback xmlns="">
            <p:pic>
              <p:nvPicPr>
                <p:cNvPr id="10" name="Ink 9">
                  <a:extLst>
                    <a:ext uri="{FF2B5EF4-FFF2-40B4-BE49-F238E27FC236}">
                      <a16:creationId xmlns:a16="http://schemas.microsoft.com/office/drawing/2014/main" id="{8C76DEEC-D09E-65A6-AFF5-081B3252A57E}"/>
                    </a:ext>
                  </a:extLst>
                </p:cNvPr>
                <p:cNvPicPr/>
                <p:nvPr/>
              </p:nvPicPr>
              <p:blipFill>
                <a:blip r:embed="rId50"/>
                <a:stretch>
                  <a:fillRect/>
                </a:stretch>
              </p:blipFill>
              <p:spPr>
                <a:xfrm>
                  <a:off x="11852310" y="2441400"/>
                  <a:ext cx="156240" cy="97920"/>
                </a:xfrm>
                <a:prstGeom prst="rect">
                  <a:avLst/>
                </a:prstGeom>
              </p:spPr>
            </p:pic>
          </mc:Fallback>
        </mc:AlternateContent>
        <mc:AlternateContent xmlns:mc="http://schemas.openxmlformats.org/markup-compatibility/2006" xmlns:p14="http://schemas.microsoft.com/office/powerpoint/2010/main">
          <mc:Choice Requires="p14">
            <p:contentPart p14:bwMode="auto" r:id="rId51">
              <p14:nvContentPartPr>
                <p14:cNvPr id="12" name="Ink 11">
                  <a:extLst>
                    <a:ext uri="{FF2B5EF4-FFF2-40B4-BE49-F238E27FC236}">
                      <a16:creationId xmlns:a16="http://schemas.microsoft.com/office/drawing/2014/main" id="{FF840B3E-55C8-D1AD-E4F1-65A508C732F0}"/>
                    </a:ext>
                  </a:extLst>
                </p14:cNvPr>
                <p14:cNvContentPartPr/>
                <p14:nvPr/>
              </p14:nvContentPartPr>
              <p14:xfrm>
                <a:off x="11944830" y="2476320"/>
                <a:ext cx="439560" cy="237240"/>
              </p14:xfrm>
            </p:contentPart>
          </mc:Choice>
          <mc:Fallback xmlns="">
            <p:pic>
              <p:nvPicPr>
                <p:cNvPr id="12" name="Ink 11">
                  <a:extLst>
                    <a:ext uri="{FF2B5EF4-FFF2-40B4-BE49-F238E27FC236}">
                      <a16:creationId xmlns:a16="http://schemas.microsoft.com/office/drawing/2014/main" id="{FF840B3E-55C8-D1AD-E4F1-65A508C732F0}"/>
                    </a:ext>
                  </a:extLst>
                </p:cNvPr>
                <p:cNvPicPr/>
                <p:nvPr/>
              </p:nvPicPr>
              <p:blipFill>
                <a:blip r:embed="rId52"/>
                <a:stretch>
                  <a:fillRect/>
                </a:stretch>
              </p:blipFill>
              <p:spPr>
                <a:xfrm>
                  <a:off x="11938710" y="2470200"/>
                  <a:ext cx="451800" cy="249480"/>
                </a:xfrm>
                <a:prstGeom prst="rect">
                  <a:avLst/>
                </a:prstGeom>
              </p:spPr>
            </p:pic>
          </mc:Fallback>
        </mc:AlternateContent>
        <mc:AlternateContent xmlns:mc="http://schemas.openxmlformats.org/markup-compatibility/2006" xmlns:p14="http://schemas.microsoft.com/office/powerpoint/2010/main">
          <mc:Choice Requires="p14">
            <p:contentPart p14:bwMode="auto" r:id="rId53">
              <p14:nvContentPartPr>
                <p14:cNvPr id="14" name="Ink 13">
                  <a:extLst>
                    <a:ext uri="{FF2B5EF4-FFF2-40B4-BE49-F238E27FC236}">
                      <a16:creationId xmlns:a16="http://schemas.microsoft.com/office/drawing/2014/main" id="{C4EBBE18-E094-5FBA-0D45-4799FECA2FD6}"/>
                    </a:ext>
                  </a:extLst>
                </p14:cNvPr>
                <p14:cNvContentPartPr/>
                <p14:nvPr/>
              </p14:nvContentPartPr>
              <p14:xfrm>
                <a:off x="11972910" y="2714280"/>
                <a:ext cx="123120" cy="77040"/>
              </p14:xfrm>
            </p:contentPart>
          </mc:Choice>
          <mc:Fallback xmlns="">
            <p:pic>
              <p:nvPicPr>
                <p:cNvPr id="14" name="Ink 13">
                  <a:extLst>
                    <a:ext uri="{FF2B5EF4-FFF2-40B4-BE49-F238E27FC236}">
                      <a16:creationId xmlns:a16="http://schemas.microsoft.com/office/drawing/2014/main" id="{C4EBBE18-E094-5FBA-0D45-4799FECA2FD6}"/>
                    </a:ext>
                  </a:extLst>
                </p:cNvPr>
                <p:cNvPicPr/>
                <p:nvPr/>
              </p:nvPicPr>
              <p:blipFill>
                <a:blip r:embed="rId54"/>
                <a:stretch>
                  <a:fillRect/>
                </a:stretch>
              </p:blipFill>
              <p:spPr>
                <a:xfrm>
                  <a:off x="11966790" y="2708160"/>
                  <a:ext cx="135360" cy="89280"/>
                </a:xfrm>
                <a:prstGeom prst="rect">
                  <a:avLst/>
                </a:prstGeom>
              </p:spPr>
            </p:pic>
          </mc:Fallback>
        </mc:AlternateContent>
        <mc:AlternateContent xmlns:mc="http://schemas.openxmlformats.org/markup-compatibility/2006" xmlns:p14="http://schemas.microsoft.com/office/powerpoint/2010/main">
          <mc:Choice Requires="p14">
            <p:contentPart p14:bwMode="auto" r:id="rId55">
              <p14:nvContentPartPr>
                <p14:cNvPr id="26" name="Ink 25">
                  <a:extLst>
                    <a:ext uri="{FF2B5EF4-FFF2-40B4-BE49-F238E27FC236}">
                      <a16:creationId xmlns:a16="http://schemas.microsoft.com/office/drawing/2014/main" id="{1E8DBD6B-0491-7346-1410-774B5D12F956}"/>
                    </a:ext>
                  </a:extLst>
                </p14:cNvPr>
                <p14:cNvContentPartPr/>
                <p14:nvPr/>
              </p14:nvContentPartPr>
              <p14:xfrm>
                <a:off x="12620550" y="3114600"/>
                <a:ext cx="29520" cy="74520"/>
              </p14:xfrm>
            </p:contentPart>
          </mc:Choice>
          <mc:Fallback xmlns="">
            <p:pic>
              <p:nvPicPr>
                <p:cNvPr id="26" name="Ink 25">
                  <a:extLst>
                    <a:ext uri="{FF2B5EF4-FFF2-40B4-BE49-F238E27FC236}">
                      <a16:creationId xmlns:a16="http://schemas.microsoft.com/office/drawing/2014/main" id="{1E8DBD6B-0491-7346-1410-774B5D12F956}"/>
                    </a:ext>
                  </a:extLst>
                </p:cNvPr>
                <p:cNvPicPr/>
                <p:nvPr/>
              </p:nvPicPr>
              <p:blipFill>
                <a:blip r:embed="rId56"/>
                <a:stretch>
                  <a:fillRect/>
                </a:stretch>
              </p:blipFill>
              <p:spPr>
                <a:xfrm>
                  <a:off x="12614430" y="3108480"/>
                  <a:ext cx="41760" cy="86760"/>
                </a:xfrm>
                <a:prstGeom prst="rect">
                  <a:avLst/>
                </a:prstGeom>
              </p:spPr>
            </p:pic>
          </mc:Fallback>
        </mc:AlternateContent>
        <mc:AlternateContent xmlns:mc="http://schemas.openxmlformats.org/markup-compatibility/2006" xmlns:p14="http://schemas.microsoft.com/office/powerpoint/2010/main">
          <mc:Choice Requires="p14">
            <p:contentPart p14:bwMode="auto" r:id="rId57">
              <p14:nvContentPartPr>
                <p14:cNvPr id="27" name="Ink 26">
                  <a:extLst>
                    <a:ext uri="{FF2B5EF4-FFF2-40B4-BE49-F238E27FC236}">
                      <a16:creationId xmlns:a16="http://schemas.microsoft.com/office/drawing/2014/main" id="{0FC27B79-7152-CFF3-2A60-4D7E054D1C18}"/>
                    </a:ext>
                  </a:extLst>
                </p14:cNvPr>
                <p14:cNvContentPartPr/>
                <p14:nvPr/>
              </p14:nvContentPartPr>
              <p14:xfrm>
                <a:off x="12632790" y="3190560"/>
                <a:ext cx="26280" cy="360"/>
              </p14:xfrm>
            </p:contentPart>
          </mc:Choice>
          <mc:Fallback xmlns="">
            <p:pic>
              <p:nvPicPr>
                <p:cNvPr id="27" name="Ink 26">
                  <a:extLst>
                    <a:ext uri="{FF2B5EF4-FFF2-40B4-BE49-F238E27FC236}">
                      <a16:creationId xmlns:a16="http://schemas.microsoft.com/office/drawing/2014/main" id="{0FC27B79-7152-CFF3-2A60-4D7E054D1C18}"/>
                    </a:ext>
                  </a:extLst>
                </p:cNvPr>
                <p:cNvPicPr/>
                <p:nvPr/>
              </p:nvPicPr>
              <p:blipFill>
                <a:blip r:embed="rId58"/>
                <a:stretch>
                  <a:fillRect/>
                </a:stretch>
              </p:blipFill>
              <p:spPr>
                <a:xfrm>
                  <a:off x="12626670" y="3184440"/>
                  <a:ext cx="3852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59">
              <p14:nvContentPartPr>
                <p14:cNvPr id="29" name="Ink 28">
                  <a:extLst>
                    <a:ext uri="{FF2B5EF4-FFF2-40B4-BE49-F238E27FC236}">
                      <a16:creationId xmlns:a16="http://schemas.microsoft.com/office/drawing/2014/main" id="{C7764148-AA75-FD9C-9C28-608A99FBA17F}"/>
                    </a:ext>
                  </a:extLst>
                </p14:cNvPr>
                <p14:cNvContentPartPr/>
                <p14:nvPr/>
              </p14:nvContentPartPr>
              <p14:xfrm>
                <a:off x="12600390" y="3128640"/>
                <a:ext cx="72360" cy="100440"/>
              </p14:xfrm>
            </p:contentPart>
          </mc:Choice>
          <mc:Fallback xmlns="">
            <p:pic>
              <p:nvPicPr>
                <p:cNvPr id="29" name="Ink 28">
                  <a:extLst>
                    <a:ext uri="{FF2B5EF4-FFF2-40B4-BE49-F238E27FC236}">
                      <a16:creationId xmlns:a16="http://schemas.microsoft.com/office/drawing/2014/main" id="{C7764148-AA75-FD9C-9C28-608A99FBA17F}"/>
                    </a:ext>
                  </a:extLst>
                </p:cNvPr>
                <p:cNvPicPr/>
                <p:nvPr/>
              </p:nvPicPr>
              <p:blipFill>
                <a:blip r:embed="rId60"/>
                <a:stretch>
                  <a:fillRect/>
                </a:stretch>
              </p:blipFill>
              <p:spPr>
                <a:xfrm>
                  <a:off x="12594270" y="3122520"/>
                  <a:ext cx="84600" cy="11268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31" name="Ink 30">
                  <a:extLst>
                    <a:ext uri="{FF2B5EF4-FFF2-40B4-BE49-F238E27FC236}">
                      <a16:creationId xmlns:a16="http://schemas.microsoft.com/office/drawing/2014/main" id="{0E83863C-3AD6-C146-5740-C5508223CCB2}"/>
                    </a:ext>
                  </a:extLst>
                </p14:cNvPr>
                <p14:cNvContentPartPr/>
                <p14:nvPr/>
              </p14:nvContentPartPr>
              <p14:xfrm>
                <a:off x="12876870" y="3090840"/>
                <a:ext cx="55800" cy="129600"/>
              </p14:xfrm>
            </p:contentPart>
          </mc:Choice>
          <mc:Fallback xmlns="">
            <p:pic>
              <p:nvPicPr>
                <p:cNvPr id="31" name="Ink 30">
                  <a:extLst>
                    <a:ext uri="{FF2B5EF4-FFF2-40B4-BE49-F238E27FC236}">
                      <a16:creationId xmlns:a16="http://schemas.microsoft.com/office/drawing/2014/main" id="{0E83863C-3AD6-C146-5740-C5508223CCB2}"/>
                    </a:ext>
                  </a:extLst>
                </p:cNvPr>
                <p:cNvPicPr/>
                <p:nvPr/>
              </p:nvPicPr>
              <p:blipFill>
                <a:blip r:embed="rId64"/>
                <a:stretch>
                  <a:fillRect/>
                </a:stretch>
              </p:blipFill>
              <p:spPr>
                <a:xfrm>
                  <a:off x="12870750" y="3084720"/>
                  <a:ext cx="68040" cy="141840"/>
                </a:xfrm>
                <a:prstGeom prst="rect">
                  <a:avLst/>
                </a:prstGeom>
              </p:spPr>
            </p:pic>
          </mc:Fallback>
        </mc:AlternateContent>
        <mc:AlternateContent xmlns:mc="http://schemas.openxmlformats.org/markup-compatibility/2006" xmlns:p14="http://schemas.microsoft.com/office/powerpoint/2010/main">
          <mc:Choice Requires="p14">
            <p:contentPart p14:bwMode="auto" r:id="rId65">
              <p14:nvContentPartPr>
                <p14:cNvPr id="32" name="Ink 31">
                  <a:extLst>
                    <a:ext uri="{FF2B5EF4-FFF2-40B4-BE49-F238E27FC236}">
                      <a16:creationId xmlns:a16="http://schemas.microsoft.com/office/drawing/2014/main" id="{AF3062EF-3C97-E2FA-5D5B-0ED0E82843CB}"/>
                    </a:ext>
                  </a:extLst>
                </p14:cNvPr>
                <p14:cNvContentPartPr/>
                <p14:nvPr/>
              </p14:nvContentPartPr>
              <p14:xfrm>
                <a:off x="12896670" y="3181200"/>
                <a:ext cx="17640" cy="360"/>
              </p14:xfrm>
            </p:contentPart>
          </mc:Choice>
          <mc:Fallback xmlns="">
            <p:pic>
              <p:nvPicPr>
                <p:cNvPr id="32" name="Ink 31">
                  <a:extLst>
                    <a:ext uri="{FF2B5EF4-FFF2-40B4-BE49-F238E27FC236}">
                      <a16:creationId xmlns:a16="http://schemas.microsoft.com/office/drawing/2014/main" id="{AF3062EF-3C97-E2FA-5D5B-0ED0E82843CB}"/>
                    </a:ext>
                  </a:extLst>
                </p:cNvPr>
                <p:cNvPicPr/>
                <p:nvPr/>
              </p:nvPicPr>
              <p:blipFill>
                <a:blip r:embed="rId66"/>
                <a:stretch>
                  <a:fillRect/>
                </a:stretch>
              </p:blipFill>
              <p:spPr>
                <a:xfrm>
                  <a:off x="12890550" y="3175080"/>
                  <a:ext cx="2988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33" name="Ink 32">
                  <a:extLst>
                    <a:ext uri="{FF2B5EF4-FFF2-40B4-BE49-F238E27FC236}">
                      <a16:creationId xmlns:a16="http://schemas.microsoft.com/office/drawing/2014/main" id="{79E271B9-B7C5-9A42-B05F-69B8B0D879D9}"/>
                    </a:ext>
                  </a:extLst>
                </p14:cNvPr>
                <p14:cNvContentPartPr/>
                <p14:nvPr/>
              </p14:nvContentPartPr>
              <p14:xfrm>
                <a:off x="12972990" y="2990760"/>
                <a:ext cx="28080" cy="266400"/>
              </p14:xfrm>
            </p:contentPart>
          </mc:Choice>
          <mc:Fallback xmlns="">
            <p:pic>
              <p:nvPicPr>
                <p:cNvPr id="33" name="Ink 32">
                  <a:extLst>
                    <a:ext uri="{FF2B5EF4-FFF2-40B4-BE49-F238E27FC236}">
                      <a16:creationId xmlns:a16="http://schemas.microsoft.com/office/drawing/2014/main" id="{79E271B9-B7C5-9A42-B05F-69B8B0D879D9}"/>
                    </a:ext>
                  </a:extLst>
                </p:cNvPr>
                <p:cNvPicPr/>
                <p:nvPr/>
              </p:nvPicPr>
              <p:blipFill>
                <a:blip r:embed="rId68"/>
                <a:stretch>
                  <a:fillRect/>
                </a:stretch>
              </p:blipFill>
              <p:spPr>
                <a:xfrm>
                  <a:off x="12966870" y="2984640"/>
                  <a:ext cx="40320" cy="278640"/>
                </a:xfrm>
                <a:prstGeom prst="rect">
                  <a:avLst/>
                </a:prstGeom>
              </p:spPr>
            </p:pic>
          </mc:Fallback>
        </mc:AlternateContent>
        <mc:AlternateContent xmlns:mc="http://schemas.openxmlformats.org/markup-compatibility/2006" xmlns:p14="http://schemas.microsoft.com/office/powerpoint/2010/main">
          <mc:Choice Requires="p14">
            <p:contentPart p14:bwMode="auto" r:id="rId69">
              <p14:nvContentPartPr>
                <p14:cNvPr id="35" name="Ink 34">
                  <a:extLst>
                    <a:ext uri="{FF2B5EF4-FFF2-40B4-BE49-F238E27FC236}">
                      <a16:creationId xmlns:a16="http://schemas.microsoft.com/office/drawing/2014/main" id="{C716EFCE-CD8D-108D-D492-F4DBCBC2ECB2}"/>
                    </a:ext>
                  </a:extLst>
                </p14:cNvPr>
                <p14:cNvContentPartPr/>
                <p14:nvPr/>
              </p14:nvContentPartPr>
              <p14:xfrm>
                <a:off x="12906390" y="3066720"/>
                <a:ext cx="192600" cy="21600"/>
              </p14:xfrm>
            </p:contentPart>
          </mc:Choice>
          <mc:Fallback xmlns="">
            <p:pic>
              <p:nvPicPr>
                <p:cNvPr id="35" name="Ink 34">
                  <a:extLst>
                    <a:ext uri="{FF2B5EF4-FFF2-40B4-BE49-F238E27FC236}">
                      <a16:creationId xmlns:a16="http://schemas.microsoft.com/office/drawing/2014/main" id="{C716EFCE-CD8D-108D-D492-F4DBCBC2ECB2}"/>
                    </a:ext>
                  </a:extLst>
                </p:cNvPr>
                <p:cNvPicPr/>
                <p:nvPr/>
              </p:nvPicPr>
              <p:blipFill>
                <a:blip r:embed="rId70"/>
                <a:stretch>
                  <a:fillRect/>
                </a:stretch>
              </p:blipFill>
              <p:spPr>
                <a:xfrm>
                  <a:off x="12900270" y="3060600"/>
                  <a:ext cx="204840" cy="33840"/>
                </a:xfrm>
                <a:prstGeom prst="rect">
                  <a:avLst/>
                </a:prstGeom>
              </p:spPr>
            </p:pic>
          </mc:Fallback>
        </mc:AlternateContent>
        <mc:AlternateContent xmlns:mc="http://schemas.openxmlformats.org/markup-compatibility/2006" xmlns:p14="http://schemas.microsoft.com/office/powerpoint/2010/main">
          <mc:Choice Requires="p14">
            <p:contentPart p14:bwMode="auto" r:id="rId71">
              <p14:nvContentPartPr>
                <p14:cNvPr id="56" name="Ink 55">
                  <a:extLst>
                    <a:ext uri="{FF2B5EF4-FFF2-40B4-BE49-F238E27FC236}">
                      <a16:creationId xmlns:a16="http://schemas.microsoft.com/office/drawing/2014/main" id="{3800895F-568B-97CF-8B19-80D1E0160DF2}"/>
                    </a:ext>
                  </a:extLst>
                </p14:cNvPr>
                <p14:cNvContentPartPr/>
                <p14:nvPr/>
              </p14:nvContentPartPr>
              <p14:xfrm>
                <a:off x="10963830" y="1921920"/>
                <a:ext cx="1267200" cy="1776600"/>
              </p14:xfrm>
            </p:contentPart>
          </mc:Choice>
          <mc:Fallback xmlns="">
            <p:pic>
              <p:nvPicPr>
                <p:cNvPr id="56" name="Ink 55">
                  <a:extLst>
                    <a:ext uri="{FF2B5EF4-FFF2-40B4-BE49-F238E27FC236}">
                      <a16:creationId xmlns:a16="http://schemas.microsoft.com/office/drawing/2014/main" id="{3800895F-568B-97CF-8B19-80D1E0160DF2}"/>
                    </a:ext>
                  </a:extLst>
                </p:cNvPr>
                <p:cNvPicPr/>
                <p:nvPr/>
              </p:nvPicPr>
              <p:blipFill>
                <a:blip r:embed="rId72"/>
                <a:stretch>
                  <a:fillRect/>
                </a:stretch>
              </p:blipFill>
              <p:spPr>
                <a:xfrm>
                  <a:off x="10957710" y="1915800"/>
                  <a:ext cx="1279440" cy="1788840"/>
                </a:xfrm>
                <a:prstGeom prst="rect">
                  <a:avLst/>
                </a:prstGeom>
              </p:spPr>
            </p:pic>
          </mc:Fallback>
        </mc:AlternateContent>
        <mc:AlternateContent xmlns:mc="http://schemas.openxmlformats.org/markup-compatibility/2006" xmlns:p14="http://schemas.microsoft.com/office/powerpoint/2010/main">
          <mc:Choice Requires="p14">
            <p:contentPart p14:bwMode="auto" r:id="rId73">
              <p14:nvContentPartPr>
                <p14:cNvPr id="57" name="Ink 56">
                  <a:extLst>
                    <a:ext uri="{FF2B5EF4-FFF2-40B4-BE49-F238E27FC236}">
                      <a16:creationId xmlns:a16="http://schemas.microsoft.com/office/drawing/2014/main" id="{C95F203A-E4A4-6A7E-582F-328B23665136}"/>
                    </a:ext>
                  </a:extLst>
                </p14:cNvPr>
                <p14:cNvContentPartPr/>
                <p14:nvPr/>
              </p14:nvContentPartPr>
              <p14:xfrm>
                <a:off x="11230950" y="3695640"/>
                <a:ext cx="75600" cy="73440"/>
              </p14:xfrm>
            </p:contentPart>
          </mc:Choice>
          <mc:Fallback xmlns="">
            <p:pic>
              <p:nvPicPr>
                <p:cNvPr id="57" name="Ink 56">
                  <a:extLst>
                    <a:ext uri="{FF2B5EF4-FFF2-40B4-BE49-F238E27FC236}">
                      <a16:creationId xmlns:a16="http://schemas.microsoft.com/office/drawing/2014/main" id="{C95F203A-E4A4-6A7E-582F-328B23665136}"/>
                    </a:ext>
                  </a:extLst>
                </p:cNvPr>
                <p:cNvPicPr/>
                <p:nvPr/>
              </p:nvPicPr>
              <p:blipFill>
                <a:blip r:embed="rId74"/>
                <a:stretch>
                  <a:fillRect/>
                </a:stretch>
              </p:blipFill>
              <p:spPr>
                <a:xfrm>
                  <a:off x="11224830" y="3689520"/>
                  <a:ext cx="87840" cy="85680"/>
                </a:xfrm>
                <a:prstGeom prst="rect">
                  <a:avLst/>
                </a:prstGeom>
              </p:spPr>
            </p:pic>
          </mc:Fallback>
        </mc:AlternateContent>
        <mc:AlternateContent xmlns:mc="http://schemas.openxmlformats.org/markup-compatibility/2006" xmlns:p14="http://schemas.microsoft.com/office/powerpoint/2010/main">
          <mc:Choice Requires="p14">
            <p:contentPart p14:bwMode="auto" r:id="rId75">
              <p14:nvContentPartPr>
                <p14:cNvPr id="16" name="Ink 15">
                  <a:extLst>
                    <a:ext uri="{FF2B5EF4-FFF2-40B4-BE49-F238E27FC236}">
                      <a16:creationId xmlns:a16="http://schemas.microsoft.com/office/drawing/2014/main" id="{1353347A-39CF-C2F8-C0EA-37D751E882DE}"/>
                    </a:ext>
                  </a:extLst>
                </p14:cNvPr>
                <p14:cNvContentPartPr/>
                <p14:nvPr/>
              </p14:nvContentPartPr>
              <p14:xfrm>
                <a:off x="12449190" y="2212080"/>
                <a:ext cx="164520" cy="172080"/>
              </p14:xfrm>
            </p:contentPart>
          </mc:Choice>
          <mc:Fallback xmlns="">
            <p:pic>
              <p:nvPicPr>
                <p:cNvPr id="16" name="Ink 15">
                  <a:extLst>
                    <a:ext uri="{FF2B5EF4-FFF2-40B4-BE49-F238E27FC236}">
                      <a16:creationId xmlns:a16="http://schemas.microsoft.com/office/drawing/2014/main" id="{1353347A-39CF-C2F8-C0EA-37D751E882DE}"/>
                    </a:ext>
                  </a:extLst>
                </p:cNvPr>
                <p:cNvPicPr/>
                <p:nvPr/>
              </p:nvPicPr>
              <p:blipFill>
                <a:blip r:embed="rId76"/>
                <a:stretch>
                  <a:fillRect/>
                </a:stretch>
              </p:blipFill>
              <p:spPr>
                <a:xfrm>
                  <a:off x="12443070" y="2205960"/>
                  <a:ext cx="176760" cy="184320"/>
                </a:xfrm>
                <a:prstGeom prst="rect">
                  <a:avLst/>
                </a:prstGeom>
              </p:spPr>
            </p:pic>
          </mc:Fallback>
        </mc:AlternateContent>
        <mc:AlternateContent xmlns:mc="http://schemas.openxmlformats.org/markup-compatibility/2006" xmlns:p14="http://schemas.microsoft.com/office/powerpoint/2010/main">
          <mc:Choice Requires="p14">
            <p:contentPart p14:bwMode="auto" r:id="rId77">
              <p14:nvContentPartPr>
                <p14:cNvPr id="17" name="Ink 16">
                  <a:extLst>
                    <a:ext uri="{FF2B5EF4-FFF2-40B4-BE49-F238E27FC236}">
                      <a16:creationId xmlns:a16="http://schemas.microsoft.com/office/drawing/2014/main" id="{5223C143-3D84-F78F-ADC3-DCE096D7C84A}"/>
                    </a:ext>
                  </a:extLst>
                </p14:cNvPr>
                <p14:cNvContentPartPr/>
                <p14:nvPr/>
              </p14:nvContentPartPr>
              <p14:xfrm>
                <a:off x="12540270" y="2314320"/>
                <a:ext cx="23400" cy="360"/>
              </p14:xfrm>
            </p:contentPart>
          </mc:Choice>
          <mc:Fallback xmlns="">
            <p:pic>
              <p:nvPicPr>
                <p:cNvPr id="17" name="Ink 16">
                  <a:extLst>
                    <a:ext uri="{FF2B5EF4-FFF2-40B4-BE49-F238E27FC236}">
                      <a16:creationId xmlns:a16="http://schemas.microsoft.com/office/drawing/2014/main" id="{5223C143-3D84-F78F-ADC3-DCE096D7C84A}"/>
                    </a:ext>
                  </a:extLst>
                </p:cNvPr>
                <p:cNvPicPr/>
                <p:nvPr/>
              </p:nvPicPr>
              <p:blipFill>
                <a:blip r:embed="rId78"/>
                <a:stretch>
                  <a:fillRect/>
                </a:stretch>
              </p:blipFill>
              <p:spPr>
                <a:xfrm>
                  <a:off x="12534150" y="2308200"/>
                  <a:ext cx="3564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79">
              <p14:nvContentPartPr>
                <p14:cNvPr id="19" name="Ink 18">
                  <a:extLst>
                    <a:ext uri="{FF2B5EF4-FFF2-40B4-BE49-F238E27FC236}">
                      <a16:creationId xmlns:a16="http://schemas.microsoft.com/office/drawing/2014/main" id="{BC7807D4-6CFF-1B3E-0FB3-4E035AEFA7AA}"/>
                    </a:ext>
                  </a:extLst>
                </p14:cNvPr>
                <p14:cNvContentPartPr/>
                <p14:nvPr/>
              </p14:nvContentPartPr>
              <p14:xfrm>
                <a:off x="12685710" y="2257080"/>
                <a:ext cx="87840" cy="79920"/>
              </p14:xfrm>
            </p:contentPart>
          </mc:Choice>
          <mc:Fallback xmlns="">
            <p:pic>
              <p:nvPicPr>
                <p:cNvPr id="19" name="Ink 18">
                  <a:extLst>
                    <a:ext uri="{FF2B5EF4-FFF2-40B4-BE49-F238E27FC236}">
                      <a16:creationId xmlns:a16="http://schemas.microsoft.com/office/drawing/2014/main" id="{BC7807D4-6CFF-1B3E-0FB3-4E035AEFA7AA}"/>
                    </a:ext>
                  </a:extLst>
                </p:cNvPr>
                <p:cNvPicPr/>
                <p:nvPr/>
              </p:nvPicPr>
              <p:blipFill>
                <a:blip r:embed="rId80"/>
                <a:stretch>
                  <a:fillRect/>
                </a:stretch>
              </p:blipFill>
              <p:spPr>
                <a:xfrm>
                  <a:off x="12679590" y="2250960"/>
                  <a:ext cx="100080" cy="92160"/>
                </a:xfrm>
                <a:prstGeom prst="rect">
                  <a:avLst/>
                </a:prstGeom>
              </p:spPr>
            </p:pic>
          </mc:Fallback>
        </mc:AlternateContent>
        <mc:AlternateContent xmlns:mc="http://schemas.openxmlformats.org/markup-compatibility/2006" xmlns:p14="http://schemas.microsoft.com/office/powerpoint/2010/main">
          <mc:Choice Requires="p14">
            <p:contentPart p14:bwMode="auto" r:id="rId81">
              <p14:nvContentPartPr>
                <p14:cNvPr id="20" name="Ink 19">
                  <a:extLst>
                    <a:ext uri="{FF2B5EF4-FFF2-40B4-BE49-F238E27FC236}">
                      <a16:creationId xmlns:a16="http://schemas.microsoft.com/office/drawing/2014/main" id="{44ED17AB-69B0-86CA-C12F-769FE4487840}"/>
                    </a:ext>
                  </a:extLst>
                </p14:cNvPr>
                <p14:cNvContentPartPr/>
                <p14:nvPr/>
              </p14:nvContentPartPr>
              <p14:xfrm>
                <a:off x="12827550" y="2247720"/>
                <a:ext cx="96120" cy="112680"/>
              </p14:xfrm>
            </p:contentPart>
          </mc:Choice>
          <mc:Fallback xmlns="">
            <p:pic>
              <p:nvPicPr>
                <p:cNvPr id="20" name="Ink 19">
                  <a:extLst>
                    <a:ext uri="{FF2B5EF4-FFF2-40B4-BE49-F238E27FC236}">
                      <a16:creationId xmlns:a16="http://schemas.microsoft.com/office/drawing/2014/main" id="{44ED17AB-69B0-86CA-C12F-769FE4487840}"/>
                    </a:ext>
                  </a:extLst>
                </p:cNvPr>
                <p:cNvPicPr/>
                <p:nvPr/>
              </p:nvPicPr>
              <p:blipFill>
                <a:blip r:embed="rId82"/>
                <a:stretch>
                  <a:fillRect/>
                </a:stretch>
              </p:blipFill>
              <p:spPr>
                <a:xfrm>
                  <a:off x="12821430" y="2241600"/>
                  <a:ext cx="108360" cy="124920"/>
                </a:xfrm>
                <a:prstGeom prst="rect">
                  <a:avLst/>
                </a:prstGeom>
              </p:spPr>
            </p:pic>
          </mc:Fallback>
        </mc:AlternateContent>
        <mc:AlternateContent xmlns:mc="http://schemas.openxmlformats.org/markup-compatibility/2006" xmlns:p14="http://schemas.microsoft.com/office/powerpoint/2010/main">
          <mc:Choice Requires="p14">
            <p:contentPart p14:bwMode="auto" r:id="rId83">
              <p14:nvContentPartPr>
                <p14:cNvPr id="63" name="Ink 62">
                  <a:extLst>
                    <a:ext uri="{FF2B5EF4-FFF2-40B4-BE49-F238E27FC236}">
                      <a16:creationId xmlns:a16="http://schemas.microsoft.com/office/drawing/2014/main" id="{CE966AD8-EE35-9C01-85D3-B5994AD4B3C1}"/>
                    </a:ext>
                  </a:extLst>
                </p14:cNvPr>
                <p14:cNvContentPartPr/>
                <p14:nvPr/>
              </p14:nvContentPartPr>
              <p14:xfrm>
                <a:off x="11142030" y="3695640"/>
                <a:ext cx="227520" cy="1249920"/>
              </p14:xfrm>
            </p:contentPart>
          </mc:Choice>
          <mc:Fallback xmlns="">
            <p:pic>
              <p:nvPicPr>
                <p:cNvPr id="63" name="Ink 62">
                  <a:extLst>
                    <a:ext uri="{FF2B5EF4-FFF2-40B4-BE49-F238E27FC236}">
                      <a16:creationId xmlns:a16="http://schemas.microsoft.com/office/drawing/2014/main" id="{CE966AD8-EE35-9C01-85D3-B5994AD4B3C1}"/>
                    </a:ext>
                  </a:extLst>
                </p:cNvPr>
                <p:cNvPicPr/>
                <p:nvPr/>
              </p:nvPicPr>
              <p:blipFill>
                <a:blip r:embed="rId84"/>
                <a:stretch>
                  <a:fillRect/>
                </a:stretch>
              </p:blipFill>
              <p:spPr>
                <a:xfrm>
                  <a:off x="11135910" y="3689520"/>
                  <a:ext cx="239760" cy="1262160"/>
                </a:xfrm>
                <a:prstGeom prst="rect">
                  <a:avLst/>
                </a:prstGeom>
              </p:spPr>
            </p:pic>
          </mc:Fallback>
        </mc:AlternateContent>
        <mc:AlternateContent xmlns:mc="http://schemas.openxmlformats.org/markup-compatibility/2006" xmlns:p14="http://schemas.microsoft.com/office/powerpoint/2010/main">
          <mc:Choice Requires="p14">
            <p:contentPart p14:bwMode="auto" r:id="rId85">
              <p14:nvContentPartPr>
                <p14:cNvPr id="65" name="Ink 64">
                  <a:extLst>
                    <a:ext uri="{FF2B5EF4-FFF2-40B4-BE49-F238E27FC236}">
                      <a16:creationId xmlns:a16="http://schemas.microsoft.com/office/drawing/2014/main" id="{2877FB18-227B-9FDE-DB77-FFB3904D0899}"/>
                    </a:ext>
                  </a:extLst>
                </p14:cNvPr>
                <p14:cNvContentPartPr/>
                <p14:nvPr/>
              </p14:nvContentPartPr>
              <p14:xfrm>
                <a:off x="11307990" y="4914600"/>
                <a:ext cx="84240" cy="81360"/>
              </p14:xfrm>
            </p:contentPart>
          </mc:Choice>
          <mc:Fallback xmlns="">
            <p:pic>
              <p:nvPicPr>
                <p:cNvPr id="65" name="Ink 64">
                  <a:extLst>
                    <a:ext uri="{FF2B5EF4-FFF2-40B4-BE49-F238E27FC236}">
                      <a16:creationId xmlns:a16="http://schemas.microsoft.com/office/drawing/2014/main" id="{2877FB18-227B-9FDE-DB77-FFB3904D0899}"/>
                    </a:ext>
                  </a:extLst>
                </p:cNvPr>
                <p:cNvPicPr/>
                <p:nvPr/>
              </p:nvPicPr>
              <p:blipFill>
                <a:blip r:embed="rId86"/>
                <a:stretch>
                  <a:fillRect/>
                </a:stretch>
              </p:blipFill>
              <p:spPr>
                <a:xfrm>
                  <a:off x="11301870" y="4908480"/>
                  <a:ext cx="96480" cy="93600"/>
                </a:xfrm>
                <a:prstGeom prst="rect">
                  <a:avLst/>
                </a:prstGeom>
              </p:spPr>
            </p:pic>
          </mc:Fallback>
        </mc:AlternateContent>
        <mc:AlternateContent xmlns:mc="http://schemas.openxmlformats.org/markup-compatibility/2006" xmlns:p14="http://schemas.microsoft.com/office/powerpoint/2010/main">
          <mc:Choice Requires="p14">
            <p:contentPart p14:bwMode="auto" r:id="rId87">
              <p14:nvContentPartPr>
                <p14:cNvPr id="67" name="Ink 66">
                  <a:extLst>
                    <a:ext uri="{FF2B5EF4-FFF2-40B4-BE49-F238E27FC236}">
                      <a16:creationId xmlns:a16="http://schemas.microsoft.com/office/drawing/2014/main" id="{E187E490-0EF9-8749-9523-6A60AAEF25FD}"/>
                    </a:ext>
                  </a:extLst>
                </p14:cNvPr>
                <p14:cNvContentPartPr/>
                <p14:nvPr/>
              </p14:nvContentPartPr>
              <p14:xfrm>
                <a:off x="11201430" y="4943400"/>
                <a:ext cx="183960" cy="265320"/>
              </p14:xfrm>
            </p:contentPart>
          </mc:Choice>
          <mc:Fallback xmlns="">
            <p:pic>
              <p:nvPicPr>
                <p:cNvPr id="67" name="Ink 66">
                  <a:extLst>
                    <a:ext uri="{FF2B5EF4-FFF2-40B4-BE49-F238E27FC236}">
                      <a16:creationId xmlns:a16="http://schemas.microsoft.com/office/drawing/2014/main" id="{E187E490-0EF9-8749-9523-6A60AAEF25FD}"/>
                    </a:ext>
                  </a:extLst>
                </p:cNvPr>
                <p:cNvPicPr/>
                <p:nvPr/>
              </p:nvPicPr>
              <p:blipFill>
                <a:blip r:embed="rId88"/>
                <a:stretch>
                  <a:fillRect/>
                </a:stretch>
              </p:blipFill>
              <p:spPr>
                <a:xfrm>
                  <a:off x="11195310" y="4937280"/>
                  <a:ext cx="196200" cy="277560"/>
                </a:xfrm>
                <a:prstGeom prst="rect">
                  <a:avLst/>
                </a:prstGeom>
              </p:spPr>
            </p:pic>
          </mc:Fallback>
        </mc:AlternateContent>
        <mc:AlternateContent xmlns:mc="http://schemas.openxmlformats.org/markup-compatibility/2006" xmlns:p14="http://schemas.microsoft.com/office/powerpoint/2010/main">
          <mc:Choice Requires="p14">
            <p:contentPart p14:bwMode="auto" r:id="rId89">
              <p14:nvContentPartPr>
                <p14:cNvPr id="69" name="Ink 68">
                  <a:extLst>
                    <a:ext uri="{FF2B5EF4-FFF2-40B4-BE49-F238E27FC236}">
                      <a16:creationId xmlns:a16="http://schemas.microsoft.com/office/drawing/2014/main" id="{E6F5C28C-15A2-48E1-850B-9DEB74DE233A}"/>
                    </a:ext>
                  </a:extLst>
                </p14:cNvPr>
                <p14:cNvContentPartPr/>
                <p14:nvPr/>
              </p14:nvContentPartPr>
              <p14:xfrm>
                <a:off x="11359830" y="5172000"/>
                <a:ext cx="32040" cy="52560"/>
              </p14:xfrm>
            </p:contentPart>
          </mc:Choice>
          <mc:Fallback xmlns="">
            <p:pic>
              <p:nvPicPr>
                <p:cNvPr id="69" name="Ink 68">
                  <a:extLst>
                    <a:ext uri="{FF2B5EF4-FFF2-40B4-BE49-F238E27FC236}">
                      <a16:creationId xmlns:a16="http://schemas.microsoft.com/office/drawing/2014/main" id="{E6F5C28C-15A2-48E1-850B-9DEB74DE233A}"/>
                    </a:ext>
                  </a:extLst>
                </p:cNvPr>
                <p:cNvPicPr/>
                <p:nvPr/>
              </p:nvPicPr>
              <p:blipFill>
                <a:blip r:embed="rId90"/>
                <a:stretch>
                  <a:fillRect/>
                </a:stretch>
              </p:blipFill>
              <p:spPr>
                <a:xfrm>
                  <a:off x="11353710" y="5165880"/>
                  <a:ext cx="44280" cy="64800"/>
                </a:xfrm>
                <a:prstGeom prst="rect">
                  <a:avLst/>
                </a:prstGeom>
              </p:spPr>
            </p:pic>
          </mc:Fallback>
        </mc:AlternateContent>
      </p:grpSp>
      <p:grpSp>
        <p:nvGrpSpPr>
          <p:cNvPr id="77" name="Group 76">
            <a:extLst>
              <a:ext uri="{FF2B5EF4-FFF2-40B4-BE49-F238E27FC236}">
                <a16:creationId xmlns:a16="http://schemas.microsoft.com/office/drawing/2014/main" id="{B14C8809-F945-B2B9-7C49-8AE8EF97D3E9}"/>
              </a:ext>
            </a:extLst>
          </p:cNvPr>
          <p:cNvGrpSpPr/>
          <p:nvPr/>
        </p:nvGrpSpPr>
        <p:grpSpPr>
          <a:xfrm>
            <a:off x="11838270" y="3257160"/>
            <a:ext cx="440640" cy="1469880"/>
            <a:chOff x="11838270" y="3257160"/>
            <a:chExt cx="440640" cy="1469880"/>
          </a:xfrm>
        </p:grpSpPr>
        <mc:AlternateContent xmlns:mc="http://schemas.openxmlformats.org/markup-compatibility/2006" xmlns:p14="http://schemas.microsoft.com/office/powerpoint/2010/main">
          <mc:Choice Requires="p14">
            <p:contentPart p14:bwMode="auto" r:id="rId91">
              <p14:nvContentPartPr>
                <p14:cNvPr id="71" name="Ink 70">
                  <a:extLst>
                    <a:ext uri="{FF2B5EF4-FFF2-40B4-BE49-F238E27FC236}">
                      <a16:creationId xmlns:a16="http://schemas.microsoft.com/office/drawing/2014/main" id="{BA34B989-0888-E7F7-392B-D41C748E0C45}"/>
                    </a:ext>
                  </a:extLst>
                </p14:cNvPr>
                <p14:cNvContentPartPr/>
                <p14:nvPr/>
              </p14:nvContentPartPr>
              <p14:xfrm>
                <a:off x="11838270" y="3257160"/>
                <a:ext cx="439560" cy="1135800"/>
              </p14:xfrm>
            </p:contentPart>
          </mc:Choice>
          <mc:Fallback xmlns="">
            <p:pic>
              <p:nvPicPr>
                <p:cNvPr id="71" name="Ink 70">
                  <a:extLst>
                    <a:ext uri="{FF2B5EF4-FFF2-40B4-BE49-F238E27FC236}">
                      <a16:creationId xmlns:a16="http://schemas.microsoft.com/office/drawing/2014/main" id="{BA34B989-0888-E7F7-392B-D41C748E0C45}"/>
                    </a:ext>
                  </a:extLst>
                </p:cNvPr>
                <p:cNvPicPr/>
                <p:nvPr/>
              </p:nvPicPr>
              <p:blipFill>
                <a:blip r:embed="rId92"/>
                <a:stretch>
                  <a:fillRect/>
                </a:stretch>
              </p:blipFill>
              <p:spPr>
                <a:xfrm>
                  <a:off x="11832150" y="3251040"/>
                  <a:ext cx="451800" cy="1148040"/>
                </a:xfrm>
                <a:prstGeom prst="rect">
                  <a:avLst/>
                </a:prstGeom>
              </p:spPr>
            </p:pic>
          </mc:Fallback>
        </mc:AlternateContent>
        <mc:AlternateContent xmlns:mc="http://schemas.openxmlformats.org/markup-compatibility/2006" xmlns:p14="http://schemas.microsoft.com/office/powerpoint/2010/main">
          <mc:Choice Requires="p14">
            <p:contentPart p14:bwMode="auto" r:id="rId93">
              <p14:nvContentPartPr>
                <p14:cNvPr id="72" name="Ink 71">
                  <a:extLst>
                    <a:ext uri="{FF2B5EF4-FFF2-40B4-BE49-F238E27FC236}">
                      <a16:creationId xmlns:a16="http://schemas.microsoft.com/office/drawing/2014/main" id="{BF52B755-1855-9133-A052-927914E92213}"/>
                    </a:ext>
                  </a:extLst>
                </p14:cNvPr>
                <p14:cNvContentPartPr/>
                <p14:nvPr/>
              </p14:nvContentPartPr>
              <p14:xfrm>
                <a:off x="11839350" y="4381440"/>
                <a:ext cx="101160" cy="51480"/>
              </p14:xfrm>
            </p:contentPart>
          </mc:Choice>
          <mc:Fallback xmlns="">
            <p:pic>
              <p:nvPicPr>
                <p:cNvPr id="72" name="Ink 71">
                  <a:extLst>
                    <a:ext uri="{FF2B5EF4-FFF2-40B4-BE49-F238E27FC236}">
                      <a16:creationId xmlns:a16="http://schemas.microsoft.com/office/drawing/2014/main" id="{BF52B755-1855-9133-A052-927914E92213}"/>
                    </a:ext>
                  </a:extLst>
                </p:cNvPr>
                <p:cNvPicPr/>
                <p:nvPr/>
              </p:nvPicPr>
              <p:blipFill>
                <a:blip r:embed="rId94"/>
                <a:stretch>
                  <a:fillRect/>
                </a:stretch>
              </p:blipFill>
              <p:spPr>
                <a:xfrm>
                  <a:off x="11833230" y="4375320"/>
                  <a:ext cx="113400" cy="63720"/>
                </a:xfrm>
                <a:prstGeom prst="rect">
                  <a:avLst/>
                </a:prstGeom>
              </p:spPr>
            </p:pic>
          </mc:Fallback>
        </mc:AlternateContent>
        <mc:AlternateContent xmlns:mc="http://schemas.openxmlformats.org/markup-compatibility/2006" xmlns:p14="http://schemas.microsoft.com/office/powerpoint/2010/main">
          <mc:Choice Requires="p14">
            <p:contentPart p14:bwMode="auto" r:id="rId95">
              <p14:nvContentPartPr>
                <p14:cNvPr id="74" name="Ink 73">
                  <a:extLst>
                    <a:ext uri="{FF2B5EF4-FFF2-40B4-BE49-F238E27FC236}">
                      <a16:creationId xmlns:a16="http://schemas.microsoft.com/office/drawing/2014/main" id="{37A7C74E-4E5E-50D5-3613-E6FF40DB713D}"/>
                    </a:ext>
                  </a:extLst>
                </p14:cNvPr>
                <p14:cNvContentPartPr/>
                <p14:nvPr/>
              </p14:nvContentPartPr>
              <p14:xfrm>
                <a:off x="11867790" y="4562160"/>
                <a:ext cx="86400" cy="68040"/>
              </p14:xfrm>
            </p:contentPart>
          </mc:Choice>
          <mc:Fallback xmlns="">
            <p:pic>
              <p:nvPicPr>
                <p:cNvPr id="74" name="Ink 73">
                  <a:extLst>
                    <a:ext uri="{FF2B5EF4-FFF2-40B4-BE49-F238E27FC236}">
                      <a16:creationId xmlns:a16="http://schemas.microsoft.com/office/drawing/2014/main" id="{37A7C74E-4E5E-50D5-3613-E6FF40DB713D}"/>
                    </a:ext>
                  </a:extLst>
                </p:cNvPr>
                <p:cNvPicPr/>
                <p:nvPr/>
              </p:nvPicPr>
              <p:blipFill>
                <a:blip r:embed="rId96"/>
                <a:stretch>
                  <a:fillRect/>
                </a:stretch>
              </p:blipFill>
              <p:spPr>
                <a:xfrm>
                  <a:off x="11861670" y="4556040"/>
                  <a:ext cx="98640" cy="80280"/>
                </a:xfrm>
                <a:prstGeom prst="rect">
                  <a:avLst/>
                </a:prstGeom>
              </p:spPr>
            </p:pic>
          </mc:Fallback>
        </mc:AlternateContent>
        <mc:AlternateContent xmlns:mc="http://schemas.openxmlformats.org/markup-compatibility/2006" xmlns:p14="http://schemas.microsoft.com/office/powerpoint/2010/main">
          <mc:Choice Requires="p14">
            <p:contentPart p14:bwMode="auto" r:id="rId97">
              <p14:nvContentPartPr>
                <p14:cNvPr id="75" name="Ink 74">
                  <a:extLst>
                    <a:ext uri="{FF2B5EF4-FFF2-40B4-BE49-F238E27FC236}">
                      <a16:creationId xmlns:a16="http://schemas.microsoft.com/office/drawing/2014/main" id="{055AB1FA-1181-0597-18EF-86F630BD949E}"/>
                    </a:ext>
                  </a:extLst>
                </p14:cNvPr>
                <p14:cNvContentPartPr/>
                <p14:nvPr/>
              </p14:nvContentPartPr>
              <p14:xfrm>
                <a:off x="11858430" y="4619400"/>
                <a:ext cx="84960" cy="107640"/>
              </p14:xfrm>
            </p:contentPart>
          </mc:Choice>
          <mc:Fallback xmlns="">
            <p:pic>
              <p:nvPicPr>
                <p:cNvPr id="75" name="Ink 74">
                  <a:extLst>
                    <a:ext uri="{FF2B5EF4-FFF2-40B4-BE49-F238E27FC236}">
                      <a16:creationId xmlns:a16="http://schemas.microsoft.com/office/drawing/2014/main" id="{055AB1FA-1181-0597-18EF-86F630BD949E}"/>
                    </a:ext>
                  </a:extLst>
                </p:cNvPr>
                <p:cNvPicPr/>
                <p:nvPr/>
              </p:nvPicPr>
              <p:blipFill>
                <a:blip r:embed="rId98"/>
                <a:stretch>
                  <a:fillRect/>
                </a:stretch>
              </p:blipFill>
              <p:spPr>
                <a:xfrm>
                  <a:off x="11852310" y="4613280"/>
                  <a:ext cx="97200" cy="119880"/>
                </a:xfrm>
                <a:prstGeom prst="rect">
                  <a:avLst/>
                </a:prstGeom>
              </p:spPr>
            </p:pic>
          </mc:Fallback>
        </mc:AlternateContent>
        <mc:AlternateContent xmlns:mc="http://schemas.openxmlformats.org/markup-compatibility/2006" xmlns:p14="http://schemas.microsoft.com/office/powerpoint/2010/main">
          <mc:Choice Requires="p14">
            <p:contentPart p14:bwMode="auto" r:id="rId99">
              <p14:nvContentPartPr>
                <p14:cNvPr id="76" name="Ink 75">
                  <a:extLst>
                    <a:ext uri="{FF2B5EF4-FFF2-40B4-BE49-F238E27FC236}">
                      <a16:creationId xmlns:a16="http://schemas.microsoft.com/office/drawing/2014/main" id="{BD35D748-D1AA-B012-E538-D725BB9595DB}"/>
                    </a:ext>
                  </a:extLst>
                </p14:cNvPr>
                <p14:cNvContentPartPr/>
                <p14:nvPr/>
              </p14:nvContentPartPr>
              <p14:xfrm>
                <a:off x="11896590" y="3286680"/>
                <a:ext cx="382320" cy="1362240"/>
              </p14:xfrm>
            </p:contentPart>
          </mc:Choice>
          <mc:Fallback xmlns="">
            <p:pic>
              <p:nvPicPr>
                <p:cNvPr id="76" name="Ink 75">
                  <a:extLst>
                    <a:ext uri="{FF2B5EF4-FFF2-40B4-BE49-F238E27FC236}">
                      <a16:creationId xmlns:a16="http://schemas.microsoft.com/office/drawing/2014/main" id="{BD35D748-D1AA-B012-E538-D725BB9595DB}"/>
                    </a:ext>
                  </a:extLst>
                </p:cNvPr>
                <p:cNvPicPr/>
                <p:nvPr/>
              </p:nvPicPr>
              <p:blipFill>
                <a:blip r:embed="rId100"/>
                <a:stretch>
                  <a:fillRect/>
                </a:stretch>
              </p:blipFill>
              <p:spPr>
                <a:xfrm>
                  <a:off x="11890470" y="3280560"/>
                  <a:ext cx="394560" cy="1374480"/>
                </a:xfrm>
                <a:prstGeom prst="rect">
                  <a:avLst/>
                </a:prstGeom>
              </p:spPr>
            </p:pic>
          </mc:Fallback>
        </mc:AlternateContent>
      </p:grpSp>
      <p:grpSp>
        <p:nvGrpSpPr>
          <p:cNvPr id="83" name="Group 82">
            <a:extLst>
              <a:ext uri="{FF2B5EF4-FFF2-40B4-BE49-F238E27FC236}">
                <a16:creationId xmlns:a16="http://schemas.microsoft.com/office/drawing/2014/main" id="{132E9266-A61D-0B7D-5378-FAF9895FC78F}"/>
              </a:ext>
            </a:extLst>
          </p:cNvPr>
          <p:cNvGrpSpPr/>
          <p:nvPr/>
        </p:nvGrpSpPr>
        <p:grpSpPr>
          <a:xfrm>
            <a:off x="11858430" y="2914440"/>
            <a:ext cx="218880" cy="150840"/>
            <a:chOff x="11858430" y="2914440"/>
            <a:chExt cx="218880" cy="150840"/>
          </a:xfrm>
        </p:grpSpPr>
        <mc:AlternateContent xmlns:mc="http://schemas.openxmlformats.org/markup-compatibility/2006" xmlns:p14="http://schemas.microsoft.com/office/powerpoint/2010/main">
          <mc:Choice Requires="p14">
            <p:contentPart p14:bwMode="auto" r:id="rId101">
              <p14:nvContentPartPr>
                <p14:cNvPr id="81" name="Ink 80">
                  <a:extLst>
                    <a:ext uri="{FF2B5EF4-FFF2-40B4-BE49-F238E27FC236}">
                      <a16:creationId xmlns:a16="http://schemas.microsoft.com/office/drawing/2014/main" id="{2139B961-5733-F838-2F53-1E43D2C43745}"/>
                    </a:ext>
                  </a:extLst>
                </p14:cNvPr>
                <p14:cNvContentPartPr/>
                <p14:nvPr/>
              </p14:nvContentPartPr>
              <p14:xfrm>
                <a:off x="11860950" y="2914440"/>
                <a:ext cx="83160" cy="150840"/>
              </p14:xfrm>
            </p:contentPart>
          </mc:Choice>
          <mc:Fallback xmlns="">
            <p:pic>
              <p:nvPicPr>
                <p:cNvPr id="81" name="Ink 80">
                  <a:extLst>
                    <a:ext uri="{FF2B5EF4-FFF2-40B4-BE49-F238E27FC236}">
                      <a16:creationId xmlns:a16="http://schemas.microsoft.com/office/drawing/2014/main" id="{2139B961-5733-F838-2F53-1E43D2C43745}"/>
                    </a:ext>
                  </a:extLst>
                </p:cNvPr>
                <p:cNvPicPr/>
                <p:nvPr/>
              </p:nvPicPr>
              <p:blipFill>
                <a:blip r:embed="rId102"/>
                <a:stretch>
                  <a:fillRect/>
                </a:stretch>
              </p:blipFill>
              <p:spPr>
                <a:xfrm>
                  <a:off x="11854830" y="2908320"/>
                  <a:ext cx="95400" cy="163080"/>
                </a:xfrm>
                <a:prstGeom prst="rect">
                  <a:avLst/>
                </a:prstGeom>
              </p:spPr>
            </p:pic>
          </mc:Fallback>
        </mc:AlternateContent>
        <mc:AlternateContent xmlns:mc="http://schemas.openxmlformats.org/markup-compatibility/2006" xmlns:p14="http://schemas.microsoft.com/office/powerpoint/2010/main">
          <mc:Choice Requires="p14">
            <p:contentPart p14:bwMode="auto" r:id="rId103">
              <p14:nvContentPartPr>
                <p14:cNvPr id="82" name="Ink 81">
                  <a:extLst>
                    <a:ext uri="{FF2B5EF4-FFF2-40B4-BE49-F238E27FC236}">
                      <a16:creationId xmlns:a16="http://schemas.microsoft.com/office/drawing/2014/main" id="{ED50F7C3-3172-E8E0-BA2E-90FC133D2158}"/>
                    </a:ext>
                  </a:extLst>
                </p14:cNvPr>
                <p14:cNvContentPartPr/>
                <p14:nvPr/>
              </p14:nvContentPartPr>
              <p14:xfrm>
                <a:off x="11858430" y="3000120"/>
                <a:ext cx="218880" cy="360"/>
              </p14:xfrm>
            </p:contentPart>
          </mc:Choice>
          <mc:Fallback xmlns="">
            <p:pic>
              <p:nvPicPr>
                <p:cNvPr id="82" name="Ink 81">
                  <a:extLst>
                    <a:ext uri="{FF2B5EF4-FFF2-40B4-BE49-F238E27FC236}">
                      <a16:creationId xmlns:a16="http://schemas.microsoft.com/office/drawing/2014/main" id="{ED50F7C3-3172-E8E0-BA2E-90FC133D2158}"/>
                    </a:ext>
                  </a:extLst>
                </p:cNvPr>
                <p:cNvPicPr/>
                <p:nvPr/>
              </p:nvPicPr>
              <p:blipFill>
                <a:blip r:embed="rId104"/>
                <a:stretch>
                  <a:fillRect/>
                </a:stretch>
              </p:blipFill>
              <p:spPr>
                <a:xfrm>
                  <a:off x="11852310" y="2994000"/>
                  <a:ext cx="231120" cy="12600"/>
                </a:xfrm>
                <a:prstGeom prst="rect">
                  <a:avLst/>
                </a:prstGeom>
              </p:spPr>
            </p:pic>
          </mc:Fallback>
        </mc:AlternateContent>
      </p:grpSp>
      <p:grpSp>
        <p:nvGrpSpPr>
          <p:cNvPr id="88" name="Group 87">
            <a:extLst>
              <a:ext uri="{FF2B5EF4-FFF2-40B4-BE49-F238E27FC236}">
                <a16:creationId xmlns:a16="http://schemas.microsoft.com/office/drawing/2014/main" id="{53504691-AC53-1434-7E93-0F7345A71EF0}"/>
              </a:ext>
            </a:extLst>
          </p:cNvPr>
          <p:cNvGrpSpPr/>
          <p:nvPr/>
        </p:nvGrpSpPr>
        <p:grpSpPr>
          <a:xfrm>
            <a:off x="11858790" y="3144840"/>
            <a:ext cx="447840" cy="349920"/>
            <a:chOff x="11858790" y="3144840"/>
            <a:chExt cx="447840" cy="349920"/>
          </a:xfrm>
        </p:grpSpPr>
        <mc:AlternateContent xmlns:mc="http://schemas.openxmlformats.org/markup-compatibility/2006" xmlns:p14="http://schemas.microsoft.com/office/powerpoint/2010/main">
          <mc:Choice Requires="p14">
            <p:contentPart p14:bwMode="auto" r:id="rId105">
              <p14:nvContentPartPr>
                <p14:cNvPr id="78" name="Ink 77">
                  <a:extLst>
                    <a:ext uri="{FF2B5EF4-FFF2-40B4-BE49-F238E27FC236}">
                      <a16:creationId xmlns:a16="http://schemas.microsoft.com/office/drawing/2014/main" id="{D060F850-324C-BF38-19D6-F7B6CEFB025E}"/>
                    </a:ext>
                  </a:extLst>
                </p14:cNvPr>
                <p14:cNvContentPartPr/>
                <p14:nvPr/>
              </p14:nvContentPartPr>
              <p14:xfrm>
                <a:off x="11858790" y="3345000"/>
                <a:ext cx="95400" cy="76320"/>
              </p14:xfrm>
            </p:contentPart>
          </mc:Choice>
          <mc:Fallback xmlns="">
            <p:pic>
              <p:nvPicPr>
                <p:cNvPr id="78" name="Ink 77">
                  <a:extLst>
                    <a:ext uri="{FF2B5EF4-FFF2-40B4-BE49-F238E27FC236}">
                      <a16:creationId xmlns:a16="http://schemas.microsoft.com/office/drawing/2014/main" id="{D060F850-324C-BF38-19D6-F7B6CEFB025E}"/>
                    </a:ext>
                  </a:extLst>
                </p:cNvPr>
                <p:cNvPicPr/>
                <p:nvPr/>
              </p:nvPicPr>
              <p:blipFill>
                <a:blip r:embed="rId106"/>
                <a:stretch>
                  <a:fillRect/>
                </a:stretch>
              </p:blipFill>
              <p:spPr>
                <a:xfrm>
                  <a:off x="11852670" y="3338880"/>
                  <a:ext cx="107640" cy="88560"/>
                </a:xfrm>
                <a:prstGeom prst="rect">
                  <a:avLst/>
                </a:prstGeom>
              </p:spPr>
            </p:pic>
          </mc:Fallback>
        </mc:AlternateContent>
        <mc:AlternateContent xmlns:mc="http://schemas.openxmlformats.org/markup-compatibility/2006" xmlns:p14="http://schemas.microsoft.com/office/powerpoint/2010/main">
          <mc:Choice Requires="p14">
            <p:contentPart p14:bwMode="auto" r:id="rId107">
              <p14:nvContentPartPr>
                <p14:cNvPr id="79" name="Ink 78">
                  <a:extLst>
                    <a:ext uri="{FF2B5EF4-FFF2-40B4-BE49-F238E27FC236}">
                      <a16:creationId xmlns:a16="http://schemas.microsoft.com/office/drawing/2014/main" id="{6DFCA18C-85BC-FB34-84ED-930E162A9421}"/>
                    </a:ext>
                  </a:extLst>
                </p14:cNvPr>
                <p14:cNvContentPartPr/>
                <p14:nvPr/>
              </p14:nvContentPartPr>
              <p14:xfrm>
                <a:off x="11868150" y="3428880"/>
                <a:ext cx="67320" cy="65880"/>
              </p14:xfrm>
            </p:contentPart>
          </mc:Choice>
          <mc:Fallback xmlns="">
            <p:pic>
              <p:nvPicPr>
                <p:cNvPr id="79" name="Ink 78">
                  <a:extLst>
                    <a:ext uri="{FF2B5EF4-FFF2-40B4-BE49-F238E27FC236}">
                      <a16:creationId xmlns:a16="http://schemas.microsoft.com/office/drawing/2014/main" id="{6DFCA18C-85BC-FB34-84ED-930E162A9421}"/>
                    </a:ext>
                  </a:extLst>
                </p:cNvPr>
                <p:cNvPicPr/>
                <p:nvPr/>
              </p:nvPicPr>
              <p:blipFill>
                <a:blip r:embed="rId108"/>
                <a:stretch>
                  <a:fillRect/>
                </a:stretch>
              </p:blipFill>
              <p:spPr>
                <a:xfrm>
                  <a:off x="11862030" y="3422760"/>
                  <a:ext cx="79560" cy="78120"/>
                </a:xfrm>
                <a:prstGeom prst="rect">
                  <a:avLst/>
                </a:prstGeom>
              </p:spPr>
            </p:pic>
          </mc:Fallback>
        </mc:AlternateContent>
        <mc:AlternateContent xmlns:mc="http://schemas.openxmlformats.org/markup-compatibility/2006" xmlns:p14="http://schemas.microsoft.com/office/powerpoint/2010/main">
          <mc:Choice Requires="p14">
            <p:contentPart p14:bwMode="auto" r:id="rId109">
              <p14:nvContentPartPr>
                <p14:cNvPr id="84" name="Ink 83">
                  <a:extLst>
                    <a:ext uri="{FF2B5EF4-FFF2-40B4-BE49-F238E27FC236}">
                      <a16:creationId xmlns:a16="http://schemas.microsoft.com/office/drawing/2014/main" id="{2BA8BAF8-9BB5-F1DB-4B15-6BD1764220EA}"/>
                    </a:ext>
                  </a:extLst>
                </p14:cNvPr>
                <p14:cNvContentPartPr/>
                <p14:nvPr/>
              </p14:nvContentPartPr>
              <p14:xfrm>
                <a:off x="11907030" y="3182640"/>
                <a:ext cx="399600" cy="84600"/>
              </p14:xfrm>
            </p:contentPart>
          </mc:Choice>
          <mc:Fallback xmlns="">
            <p:pic>
              <p:nvPicPr>
                <p:cNvPr id="84" name="Ink 83">
                  <a:extLst>
                    <a:ext uri="{FF2B5EF4-FFF2-40B4-BE49-F238E27FC236}">
                      <a16:creationId xmlns:a16="http://schemas.microsoft.com/office/drawing/2014/main" id="{2BA8BAF8-9BB5-F1DB-4B15-6BD1764220EA}"/>
                    </a:ext>
                  </a:extLst>
                </p:cNvPr>
                <p:cNvPicPr/>
                <p:nvPr/>
              </p:nvPicPr>
              <p:blipFill>
                <a:blip r:embed="rId110"/>
                <a:stretch>
                  <a:fillRect/>
                </a:stretch>
              </p:blipFill>
              <p:spPr>
                <a:xfrm>
                  <a:off x="11900910" y="3176520"/>
                  <a:ext cx="411840" cy="96840"/>
                </a:xfrm>
                <a:prstGeom prst="rect">
                  <a:avLst/>
                </a:prstGeom>
              </p:spPr>
            </p:pic>
          </mc:Fallback>
        </mc:AlternateContent>
        <mc:AlternateContent xmlns:mc="http://schemas.openxmlformats.org/markup-compatibility/2006" xmlns:p14="http://schemas.microsoft.com/office/powerpoint/2010/main">
          <mc:Choice Requires="p14">
            <p:contentPart p14:bwMode="auto" r:id="rId111">
              <p14:nvContentPartPr>
                <p14:cNvPr id="85" name="Ink 84">
                  <a:extLst>
                    <a:ext uri="{FF2B5EF4-FFF2-40B4-BE49-F238E27FC236}">
                      <a16:creationId xmlns:a16="http://schemas.microsoft.com/office/drawing/2014/main" id="{EBB82A91-593B-67FC-65DA-DF7E116E0106}"/>
                    </a:ext>
                  </a:extLst>
                </p14:cNvPr>
                <p14:cNvContentPartPr/>
                <p14:nvPr/>
              </p14:nvContentPartPr>
              <p14:xfrm>
                <a:off x="11925030" y="3219360"/>
                <a:ext cx="77040" cy="77760"/>
              </p14:xfrm>
            </p:contentPart>
          </mc:Choice>
          <mc:Fallback xmlns="">
            <p:pic>
              <p:nvPicPr>
                <p:cNvPr id="85" name="Ink 84">
                  <a:extLst>
                    <a:ext uri="{FF2B5EF4-FFF2-40B4-BE49-F238E27FC236}">
                      <a16:creationId xmlns:a16="http://schemas.microsoft.com/office/drawing/2014/main" id="{EBB82A91-593B-67FC-65DA-DF7E116E0106}"/>
                    </a:ext>
                  </a:extLst>
                </p:cNvPr>
                <p:cNvPicPr/>
                <p:nvPr/>
              </p:nvPicPr>
              <p:blipFill>
                <a:blip r:embed="rId112"/>
                <a:stretch>
                  <a:fillRect/>
                </a:stretch>
              </p:blipFill>
              <p:spPr>
                <a:xfrm>
                  <a:off x="11918910" y="3213240"/>
                  <a:ext cx="89280" cy="90000"/>
                </a:xfrm>
                <a:prstGeom prst="rect">
                  <a:avLst/>
                </a:prstGeom>
              </p:spPr>
            </p:pic>
          </mc:Fallback>
        </mc:AlternateContent>
        <mc:AlternateContent xmlns:mc="http://schemas.openxmlformats.org/markup-compatibility/2006" xmlns:p14="http://schemas.microsoft.com/office/powerpoint/2010/main">
          <mc:Choice Requires="p14">
            <p:contentPart p14:bwMode="auto" r:id="rId113">
              <p14:nvContentPartPr>
                <p14:cNvPr id="87" name="Ink 86">
                  <a:extLst>
                    <a:ext uri="{FF2B5EF4-FFF2-40B4-BE49-F238E27FC236}">
                      <a16:creationId xmlns:a16="http://schemas.microsoft.com/office/drawing/2014/main" id="{EFF80F92-0D51-3F44-9A6D-5A165FAD1DF7}"/>
                    </a:ext>
                  </a:extLst>
                </p14:cNvPr>
                <p14:cNvContentPartPr/>
                <p14:nvPr/>
              </p14:nvContentPartPr>
              <p14:xfrm>
                <a:off x="11925030" y="3144840"/>
                <a:ext cx="75240" cy="27000"/>
              </p14:xfrm>
            </p:contentPart>
          </mc:Choice>
          <mc:Fallback xmlns="">
            <p:pic>
              <p:nvPicPr>
                <p:cNvPr id="87" name="Ink 86">
                  <a:extLst>
                    <a:ext uri="{FF2B5EF4-FFF2-40B4-BE49-F238E27FC236}">
                      <a16:creationId xmlns:a16="http://schemas.microsoft.com/office/drawing/2014/main" id="{EFF80F92-0D51-3F44-9A6D-5A165FAD1DF7}"/>
                    </a:ext>
                  </a:extLst>
                </p:cNvPr>
                <p:cNvPicPr/>
                <p:nvPr/>
              </p:nvPicPr>
              <p:blipFill>
                <a:blip r:embed="rId114"/>
                <a:stretch>
                  <a:fillRect/>
                </a:stretch>
              </p:blipFill>
              <p:spPr>
                <a:xfrm>
                  <a:off x="11918910" y="3138720"/>
                  <a:ext cx="87480" cy="39240"/>
                </a:xfrm>
                <a:prstGeom prst="rect">
                  <a:avLst/>
                </a:prstGeom>
              </p:spPr>
            </p:pic>
          </mc:Fallback>
        </mc:AlternateContent>
      </p:grpSp>
      <mc:AlternateContent xmlns:mc="http://schemas.openxmlformats.org/markup-compatibility/2006">
        <mc:Choice xmlns:p14="http://schemas.microsoft.com/office/powerpoint/2010/main" Requires="p14">
          <p:contentPart p14:bwMode="auto" r:id="rId115">
            <p14:nvContentPartPr>
              <p14:cNvPr id="13" name="Ink 12">
                <a:extLst>
                  <a:ext uri="{FF2B5EF4-FFF2-40B4-BE49-F238E27FC236}">
                    <a16:creationId xmlns:a16="http://schemas.microsoft.com/office/drawing/2014/main" id="{8641E57D-1386-0544-5EC2-ABAD1D68BC8B}"/>
                  </a:ext>
                </a:extLst>
              </p14:cNvPr>
              <p14:cNvContentPartPr/>
              <p14:nvPr/>
            </p14:nvContentPartPr>
            <p14:xfrm>
              <a:off x="12427150" y="2229956"/>
              <a:ext cx="610560" cy="169560"/>
            </p14:xfrm>
          </p:contentPart>
        </mc:Choice>
        <mc:Fallback>
          <p:pic>
            <p:nvPicPr>
              <p:cNvPr id="13" name="Ink 12">
                <a:extLst>
                  <a:ext uri="{FF2B5EF4-FFF2-40B4-BE49-F238E27FC236}">
                    <a16:creationId xmlns:a16="http://schemas.microsoft.com/office/drawing/2014/main" id="{8641E57D-1386-0544-5EC2-ABAD1D68BC8B}"/>
                  </a:ext>
                </a:extLst>
              </p:cNvPr>
              <p:cNvPicPr/>
              <p:nvPr/>
            </p:nvPicPr>
            <p:blipFill>
              <a:blip r:embed="rId116"/>
              <a:stretch>
                <a:fillRect/>
              </a:stretch>
            </p:blipFill>
            <p:spPr>
              <a:xfrm>
                <a:off x="12373510" y="2122316"/>
                <a:ext cx="718200" cy="385200"/>
              </a:xfrm>
              <a:prstGeom prst="rect">
                <a:avLst/>
              </a:prstGeom>
            </p:spPr>
          </p:pic>
        </mc:Fallback>
      </mc:AlternateContent>
      <mc:AlternateContent xmlns:mc="http://schemas.openxmlformats.org/markup-compatibility/2006">
        <mc:Choice xmlns:p14="http://schemas.microsoft.com/office/powerpoint/2010/main" Requires="p14">
          <p:contentPart p14:bwMode="auto" r:id="rId117">
            <p14:nvContentPartPr>
              <p14:cNvPr id="15" name="Ink 14">
                <a:extLst>
                  <a:ext uri="{FF2B5EF4-FFF2-40B4-BE49-F238E27FC236}">
                    <a16:creationId xmlns:a16="http://schemas.microsoft.com/office/drawing/2014/main" id="{094814DF-6645-2A8A-A963-A89FFC17C5EC}"/>
                  </a:ext>
                </a:extLst>
              </p14:cNvPr>
              <p14:cNvContentPartPr/>
              <p14:nvPr/>
            </p14:nvContentPartPr>
            <p14:xfrm>
              <a:off x="12291430" y="5346116"/>
              <a:ext cx="1206000" cy="209880"/>
            </p14:xfrm>
          </p:contentPart>
        </mc:Choice>
        <mc:Fallback>
          <p:pic>
            <p:nvPicPr>
              <p:cNvPr id="15" name="Ink 14">
                <a:extLst>
                  <a:ext uri="{FF2B5EF4-FFF2-40B4-BE49-F238E27FC236}">
                    <a16:creationId xmlns:a16="http://schemas.microsoft.com/office/drawing/2014/main" id="{094814DF-6645-2A8A-A963-A89FFC17C5EC}"/>
                  </a:ext>
                </a:extLst>
              </p:cNvPr>
              <p:cNvPicPr/>
              <p:nvPr/>
            </p:nvPicPr>
            <p:blipFill>
              <a:blip r:embed="rId118"/>
              <a:stretch>
                <a:fillRect/>
              </a:stretch>
            </p:blipFill>
            <p:spPr>
              <a:xfrm>
                <a:off x="12237790" y="5238476"/>
                <a:ext cx="1313640" cy="425520"/>
              </a:xfrm>
              <a:prstGeom prst="rect">
                <a:avLst/>
              </a:prstGeom>
            </p:spPr>
          </p:pic>
        </mc:Fallback>
      </mc:AlternateContent>
      <mc:AlternateContent xmlns:mc="http://schemas.openxmlformats.org/markup-compatibility/2006">
        <mc:Choice xmlns:p14="http://schemas.microsoft.com/office/powerpoint/2010/main" Requires="p14">
          <p:contentPart p14:bwMode="auto" r:id="rId119">
            <p14:nvContentPartPr>
              <p14:cNvPr id="18" name="Ink 17">
                <a:extLst>
                  <a:ext uri="{FF2B5EF4-FFF2-40B4-BE49-F238E27FC236}">
                    <a16:creationId xmlns:a16="http://schemas.microsoft.com/office/drawing/2014/main" id="{DD6CE1D9-C30C-5D00-B855-FD91FFFA8DF3}"/>
                  </a:ext>
                </a:extLst>
              </p14:cNvPr>
              <p14:cNvContentPartPr/>
              <p14:nvPr/>
            </p14:nvContentPartPr>
            <p14:xfrm>
              <a:off x="11357230" y="5466356"/>
              <a:ext cx="442080" cy="30240"/>
            </p14:xfrm>
          </p:contentPart>
        </mc:Choice>
        <mc:Fallback>
          <p:pic>
            <p:nvPicPr>
              <p:cNvPr id="18" name="Ink 17">
                <a:extLst>
                  <a:ext uri="{FF2B5EF4-FFF2-40B4-BE49-F238E27FC236}">
                    <a16:creationId xmlns:a16="http://schemas.microsoft.com/office/drawing/2014/main" id="{DD6CE1D9-C30C-5D00-B855-FD91FFFA8DF3}"/>
                  </a:ext>
                </a:extLst>
              </p:cNvPr>
              <p:cNvPicPr/>
              <p:nvPr/>
            </p:nvPicPr>
            <p:blipFill>
              <a:blip r:embed="rId120"/>
              <a:stretch>
                <a:fillRect/>
              </a:stretch>
            </p:blipFill>
            <p:spPr>
              <a:xfrm>
                <a:off x="11303230" y="5358356"/>
                <a:ext cx="549720" cy="245880"/>
              </a:xfrm>
              <a:prstGeom prst="rect">
                <a:avLst/>
              </a:prstGeom>
            </p:spPr>
          </p:pic>
        </mc:Fallback>
      </mc:AlternateContent>
      <mc:AlternateContent xmlns:mc="http://schemas.openxmlformats.org/markup-compatibility/2006">
        <mc:Choice xmlns:p14="http://schemas.microsoft.com/office/powerpoint/2010/main" Requires="p14">
          <p:contentPart p14:bwMode="auto" r:id="rId121">
            <p14:nvContentPartPr>
              <p14:cNvPr id="21" name="Ink 20">
                <a:extLst>
                  <a:ext uri="{FF2B5EF4-FFF2-40B4-BE49-F238E27FC236}">
                    <a16:creationId xmlns:a16="http://schemas.microsoft.com/office/drawing/2014/main" id="{D01135CE-2B73-C403-A606-8F5E5CE75F97}"/>
                  </a:ext>
                </a:extLst>
              </p14:cNvPr>
              <p14:cNvContentPartPr/>
              <p14:nvPr/>
            </p14:nvContentPartPr>
            <p14:xfrm>
              <a:off x="11348950" y="2466476"/>
              <a:ext cx="547200" cy="246960"/>
            </p14:xfrm>
          </p:contentPart>
        </mc:Choice>
        <mc:Fallback>
          <p:pic>
            <p:nvPicPr>
              <p:cNvPr id="21" name="Ink 20">
                <a:extLst>
                  <a:ext uri="{FF2B5EF4-FFF2-40B4-BE49-F238E27FC236}">
                    <a16:creationId xmlns:a16="http://schemas.microsoft.com/office/drawing/2014/main" id="{D01135CE-2B73-C403-A606-8F5E5CE75F97}"/>
                  </a:ext>
                </a:extLst>
              </p:cNvPr>
              <p:cNvPicPr/>
              <p:nvPr/>
            </p:nvPicPr>
            <p:blipFill>
              <a:blip r:embed="rId122"/>
              <a:stretch>
                <a:fillRect/>
              </a:stretch>
            </p:blipFill>
            <p:spPr>
              <a:xfrm>
                <a:off x="11294950" y="2358836"/>
                <a:ext cx="654840" cy="462600"/>
              </a:xfrm>
              <a:prstGeom prst="rect">
                <a:avLst/>
              </a:prstGeom>
            </p:spPr>
          </p:pic>
        </mc:Fallback>
      </mc:AlternateContent>
      <mc:AlternateContent xmlns:mc="http://schemas.openxmlformats.org/markup-compatibility/2006">
        <mc:Choice xmlns:p14="http://schemas.microsoft.com/office/powerpoint/2010/main" Requires="p14">
          <p:contentPart p14:bwMode="auto" r:id="rId123">
            <p14:nvContentPartPr>
              <p14:cNvPr id="23" name="Ink 22">
                <a:extLst>
                  <a:ext uri="{FF2B5EF4-FFF2-40B4-BE49-F238E27FC236}">
                    <a16:creationId xmlns:a16="http://schemas.microsoft.com/office/drawing/2014/main" id="{D34D4337-C7B3-7387-5532-4C1817A54C9B}"/>
                  </a:ext>
                </a:extLst>
              </p14:cNvPr>
              <p14:cNvContentPartPr/>
              <p14:nvPr/>
            </p14:nvContentPartPr>
            <p14:xfrm>
              <a:off x="12257230" y="3027716"/>
              <a:ext cx="1078200" cy="259200"/>
            </p14:xfrm>
          </p:contentPart>
        </mc:Choice>
        <mc:Fallback>
          <p:pic>
            <p:nvPicPr>
              <p:cNvPr id="23" name="Ink 22">
                <a:extLst>
                  <a:ext uri="{FF2B5EF4-FFF2-40B4-BE49-F238E27FC236}">
                    <a16:creationId xmlns:a16="http://schemas.microsoft.com/office/drawing/2014/main" id="{D34D4337-C7B3-7387-5532-4C1817A54C9B}"/>
                  </a:ext>
                </a:extLst>
              </p:cNvPr>
              <p:cNvPicPr/>
              <p:nvPr/>
            </p:nvPicPr>
            <p:blipFill>
              <a:blip r:embed="rId124"/>
              <a:stretch>
                <a:fillRect/>
              </a:stretch>
            </p:blipFill>
            <p:spPr>
              <a:xfrm>
                <a:off x="12203590" y="2920076"/>
                <a:ext cx="1185840" cy="474840"/>
              </a:xfrm>
              <a:prstGeom prst="rect">
                <a:avLst/>
              </a:prstGeom>
            </p:spPr>
          </p:pic>
        </mc:Fallback>
      </mc:AlternateContent>
      <mc:AlternateContent xmlns:mc="http://schemas.openxmlformats.org/markup-compatibility/2006">
        <mc:Choice xmlns:p14="http://schemas.microsoft.com/office/powerpoint/2010/main" Requires="p14">
          <p:contentPart p14:bwMode="auto" r:id="rId125">
            <p14:nvContentPartPr>
              <p14:cNvPr id="28" name="Ink 27">
                <a:extLst>
                  <a:ext uri="{FF2B5EF4-FFF2-40B4-BE49-F238E27FC236}">
                    <a16:creationId xmlns:a16="http://schemas.microsoft.com/office/drawing/2014/main" id="{04CA0C30-C44C-030F-1B82-CA7B352A6C3D}"/>
                  </a:ext>
                </a:extLst>
              </p14:cNvPr>
              <p14:cNvContentPartPr/>
              <p14:nvPr/>
            </p14:nvContentPartPr>
            <p14:xfrm>
              <a:off x="11357950" y="2948876"/>
              <a:ext cx="911520" cy="1692360"/>
            </p14:xfrm>
          </p:contentPart>
        </mc:Choice>
        <mc:Fallback>
          <p:pic>
            <p:nvPicPr>
              <p:cNvPr id="28" name="Ink 27">
                <a:extLst>
                  <a:ext uri="{FF2B5EF4-FFF2-40B4-BE49-F238E27FC236}">
                    <a16:creationId xmlns:a16="http://schemas.microsoft.com/office/drawing/2014/main" id="{04CA0C30-C44C-030F-1B82-CA7B352A6C3D}"/>
                  </a:ext>
                </a:extLst>
              </p:cNvPr>
              <p:cNvPicPr/>
              <p:nvPr/>
            </p:nvPicPr>
            <p:blipFill>
              <a:blip r:embed="rId126"/>
              <a:stretch>
                <a:fillRect/>
              </a:stretch>
            </p:blipFill>
            <p:spPr>
              <a:xfrm>
                <a:off x="11304310" y="2841236"/>
                <a:ext cx="1019160" cy="1908000"/>
              </a:xfrm>
              <a:prstGeom prst="rect">
                <a:avLst/>
              </a:prstGeom>
            </p:spPr>
          </p:pic>
        </mc:Fallback>
      </mc:AlternateContent>
      <mc:AlternateContent xmlns:mc="http://schemas.openxmlformats.org/markup-compatibility/2006">
        <mc:Choice xmlns:p14="http://schemas.microsoft.com/office/powerpoint/2010/main" Requires="p14">
          <p:contentPart p14:bwMode="auto" r:id="rId127">
            <p14:nvContentPartPr>
              <p14:cNvPr id="34" name="Ink 33">
                <a:extLst>
                  <a:ext uri="{FF2B5EF4-FFF2-40B4-BE49-F238E27FC236}">
                    <a16:creationId xmlns:a16="http://schemas.microsoft.com/office/drawing/2014/main" id="{2C0FB1B2-876E-A0D5-640D-44AC52D4330F}"/>
                  </a:ext>
                </a:extLst>
              </p14:cNvPr>
              <p14:cNvContentPartPr/>
              <p14:nvPr/>
            </p14:nvContentPartPr>
            <p14:xfrm>
              <a:off x="11351470" y="3696956"/>
              <a:ext cx="486720" cy="59400"/>
            </p14:xfrm>
          </p:contentPart>
        </mc:Choice>
        <mc:Fallback>
          <p:pic>
            <p:nvPicPr>
              <p:cNvPr id="34" name="Ink 33">
                <a:extLst>
                  <a:ext uri="{FF2B5EF4-FFF2-40B4-BE49-F238E27FC236}">
                    <a16:creationId xmlns:a16="http://schemas.microsoft.com/office/drawing/2014/main" id="{2C0FB1B2-876E-A0D5-640D-44AC52D4330F}"/>
                  </a:ext>
                </a:extLst>
              </p:cNvPr>
              <p:cNvPicPr/>
              <p:nvPr/>
            </p:nvPicPr>
            <p:blipFill>
              <a:blip r:embed="rId128"/>
              <a:stretch>
                <a:fillRect/>
              </a:stretch>
            </p:blipFill>
            <p:spPr>
              <a:xfrm>
                <a:off x="11297470" y="3588956"/>
                <a:ext cx="594360" cy="275040"/>
              </a:xfrm>
              <a:prstGeom prst="rect">
                <a:avLst/>
              </a:prstGeom>
            </p:spPr>
          </p:pic>
        </mc:Fallback>
      </mc:AlternateContent>
      <mc:AlternateContent xmlns:mc="http://schemas.openxmlformats.org/markup-compatibility/2006">
        <mc:Choice xmlns:p14="http://schemas.microsoft.com/office/powerpoint/2010/main" Requires="p14">
          <p:contentPart p14:bwMode="auto" r:id="rId129">
            <p14:nvContentPartPr>
              <p14:cNvPr id="36" name="Ink 35">
                <a:extLst>
                  <a:ext uri="{FF2B5EF4-FFF2-40B4-BE49-F238E27FC236}">
                    <a16:creationId xmlns:a16="http://schemas.microsoft.com/office/drawing/2014/main" id="{07B2206D-67F8-F5EA-5CA8-109D77435CBA}"/>
                  </a:ext>
                </a:extLst>
              </p14:cNvPr>
              <p14:cNvContentPartPr/>
              <p14:nvPr/>
            </p14:nvContentPartPr>
            <p14:xfrm>
              <a:off x="11357590" y="4875236"/>
              <a:ext cx="492120" cy="562680"/>
            </p14:xfrm>
          </p:contentPart>
        </mc:Choice>
        <mc:Fallback>
          <p:pic>
            <p:nvPicPr>
              <p:cNvPr id="36" name="Ink 35">
                <a:extLst>
                  <a:ext uri="{FF2B5EF4-FFF2-40B4-BE49-F238E27FC236}">
                    <a16:creationId xmlns:a16="http://schemas.microsoft.com/office/drawing/2014/main" id="{07B2206D-67F8-F5EA-5CA8-109D77435CBA}"/>
                  </a:ext>
                </a:extLst>
              </p:cNvPr>
              <p:cNvPicPr/>
              <p:nvPr/>
            </p:nvPicPr>
            <p:blipFill>
              <a:blip r:embed="rId130"/>
              <a:stretch>
                <a:fillRect/>
              </a:stretch>
            </p:blipFill>
            <p:spPr>
              <a:xfrm>
                <a:off x="11303590" y="4767236"/>
                <a:ext cx="599760" cy="778320"/>
              </a:xfrm>
              <a:prstGeom prst="rect">
                <a:avLst/>
              </a:prstGeom>
            </p:spPr>
          </p:pic>
        </mc:Fallback>
      </mc:AlternateContent>
      <mc:AlternateContent xmlns:mc="http://schemas.openxmlformats.org/markup-compatibility/2006">
        <mc:Choice xmlns:p14="http://schemas.microsoft.com/office/powerpoint/2010/main" Requires="p14">
          <p:contentPart p14:bwMode="auto" r:id="rId131">
            <p14:nvContentPartPr>
              <p14:cNvPr id="39" name="Ink 38">
                <a:extLst>
                  <a:ext uri="{FF2B5EF4-FFF2-40B4-BE49-F238E27FC236}">
                    <a16:creationId xmlns:a16="http://schemas.microsoft.com/office/drawing/2014/main" id="{7E73B266-4C96-A751-DBC3-657215E078B8}"/>
                  </a:ext>
                </a:extLst>
              </p14:cNvPr>
              <p14:cNvContentPartPr/>
              <p14:nvPr/>
            </p14:nvContentPartPr>
            <p14:xfrm>
              <a:off x="11923870" y="2412116"/>
              <a:ext cx="592920" cy="86040"/>
            </p14:xfrm>
          </p:contentPart>
        </mc:Choice>
        <mc:Fallback>
          <p:pic>
            <p:nvPicPr>
              <p:cNvPr id="39" name="Ink 38">
                <a:extLst>
                  <a:ext uri="{FF2B5EF4-FFF2-40B4-BE49-F238E27FC236}">
                    <a16:creationId xmlns:a16="http://schemas.microsoft.com/office/drawing/2014/main" id="{7E73B266-4C96-A751-DBC3-657215E078B8}"/>
                  </a:ext>
                </a:extLst>
              </p:cNvPr>
              <p:cNvPicPr/>
              <p:nvPr/>
            </p:nvPicPr>
            <p:blipFill>
              <a:blip r:embed="rId132"/>
              <a:stretch>
                <a:fillRect/>
              </a:stretch>
            </p:blipFill>
            <p:spPr>
              <a:xfrm>
                <a:off x="11869870" y="2304116"/>
                <a:ext cx="700560" cy="301680"/>
              </a:xfrm>
              <a:prstGeom prst="rect">
                <a:avLst/>
              </a:prstGeom>
            </p:spPr>
          </p:pic>
        </mc:Fallback>
      </mc:AlternateContent>
      <mc:AlternateContent xmlns:mc="http://schemas.openxmlformats.org/markup-compatibility/2006">
        <mc:Choice xmlns:p14="http://schemas.microsoft.com/office/powerpoint/2010/main" Requires="p14">
          <p:contentPart p14:bwMode="auto" r:id="rId133">
            <p14:nvContentPartPr>
              <p14:cNvPr id="42" name="Ink 41">
                <a:extLst>
                  <a:ext uri="{FF2B5EF4-FFF2-40B4-BE49-F238E27FC236}">
                    <a16:creationId xmlns:a16="http://schemas.microsoft.com/office/drawing/2014/main" id="{7998E5D7-3037-3D69-726F-17A216B85DA5}"/>
                  </a:ext>
                </a:extLst>
              </p14:cNvPr>
              <p14:cNvContentPartPr/>
              <p14:nvPr/>
            </p14:nvContentPartPr>
            <p14:xfrm>
              <a:off x="12039790" y="2497436"/>
              <a:ext cx="349920" cy="247680"/>
            </p14:xfrm>
          </p:contentPart>
        </mc:Choice>
        <mc:Fallback>
          <p:pic>
            <p:nvPicPr>
              <p:cNvPr id="42" name="Ink 41">
                <a:extLst>
                  <a:ext uri="{FF2B5EF4-FFF2-40B4-BE49-F238E27FC236}">
                    <a16:creationId xmlns:a16="http://schemas.microsoft.com/office/drawing/2014/main" id="{7998E5D7-3037-3D69-726F-17A216B85DA5}"/>
                  </a:ext>
                </a:extLst>
              </p:cNvPr>
              <p:cNvPicPr/>
              <p:nvPr/>
            </p:nvPicPr>
            <p:blipFill>
              <a:blip r:embed="rId134"/>
              <a:stretch>
                <a:fillRect/>
              </a:stretch>
            </p:blipFill>
            <p:spPr>
              <a:xfrm>
                <a:off x="11985790" y="2389436"/>
                <a:ext cx="457560" cy="463320"/>
              </a:xfrm>
              <a:prstGeom prst="rect">
                <a:avLst/>
              </a:prstGeom>
            </p:spPr>
          </p:pic>
        </mc:Fallback>
      </mc:AlternateContent>
      <mc:AlternateContent xmlns:mc="http://schemas.openxmlformats.org/markup-compatibility/2006">
        <mc:Choice xmlns:p14="http://schemas.microsoft.com/office/powerpoint/2010/main" Requires="p14">
          <p:contentPart p14:bwMode="auto" r:id="rId135">
            <p14:nvContentPartPr>
              <p14:cNvPr id="45" name="Ink 44">
                <a:extLst>
                  <a:ext uri="{FF2B5EF4-FFF2-40B4-BE49-F238E27FC236}">
                    <a16:creationId xmlns:a16="http://schemas.microsoft.com/office/drawing/2014/main" id="{C1368BB2-CAC0-4B62-D022-82F3D7C2A2FE}"/>
                  </a:ext>
                </a:extLst>
              </p14:cNvPr>
              <p14:cNvContentPartPr/>
              <p14:nvPr/>
            </p14:nvContentPartPr>
            <p14:xfrm>
              <a:off x="11750350" y="5485076"/>
              <a:ext cx="609120" cy="90000"/>
            </p14:xfrm>
          </p:contentPart>
        </mc:Choice>
        <mc:Fallback>
          <p:pic>
            <p:nvPicPr>
              <p:cNvPr id="45" name="Ink 44">
                <a:extLst>
                  <a:ext uri="{FF2B5EF4-FFF2-40B4-BE49-F238E27FC236}">
                    <a16:creationId xmlns:a16="http://schemas.microsoft.com/office/drawing/2014/main" id="{C1368BB2-CAC0-4B62-D022-82F3D7C2A2FE}"/>
                  </a:ext>
                </a:extLst>
              </p:cNvPr>
              <p:cNvPicPr/>
              <p:nvPr/>
            </p:nvPicPr>
            <p:blipFill>
              <a:blip r:embed="rId136"/>
              <a:stretch>
                <a:fillRect/>
              </a:stretch>
            </p:blipFill>
            <p:spPr>
              <a:xfrm>
                <a:off x="11696350" y="5377436"/>
                <a:ext cx="716760" cy="305640"/>
              </a:xfrm>
              <a:prstGeom prst="rect">
                <a:avLst/>
              </a:prstGeom>
            </p:spPr>
          </p:pic>
        </mc:Fallback>
      </mc:AlternateContent>
      <mc:AlternateContent xmlns:mc="http://schemas.openxmlformats.org/markup-compatibility/2006">
        <mc:Choice xmlns:p14="http://schemas.microsoft.com/office/powerpoint/2010/main" Requires="p14">
          <p:contentPart p14:bwMode="auto" r:id="rId137">
            <p14:nvContentPartPr>
              <p14:cNvPr id="50" name="Ink 49">
                <a:extLst>
                  <a:ext uri="{FF2B5EF4-FFF2-40B4-BE49-F238E27FC236}">
                    <a16:creationId xmlns:a16="http://schemas.microsoft.com/office/drawing/2014/main" id="{E4CD8A5B-519C-45F8-BD1D-ED4664EF9491}"/>
                  </a:ext>
                </a:extLst>
              </p14:cNvPr>
              <p14:cNvContentPartPr/>
              <p14:nvPr/>
            </p14:nvContentPartPr>
            <p14:xfrm>
              <a:off x="8817430" y="4865156"/>
              <a:ext cx="3492360" cy="1045440"/>
            </p14:xfrm>
          </p:contentPart>
        </mc:Choice>
        <mc:Fallback>
          <p:pic>
            <p:nvPicPr>
              <p:cNvPr id="50" name="Ink 49">
                <a:extLst>
                  <a:ext uri="{FF2B5EF4-FFF2-40B4-BE49-F238E27FC236}">
                    <a16:creationId xmlns:a16="http://schemas.microsoft.com/office/drawing/2014/main" id="{E4CD8A5B-519C-45F8-BD1D-ED4664EF9491}"/>
                  </a:ext>
                </a:extLst>
              </p:cNvPr>
              <p:cNvPicPr/>
              <p:nvPr/>
            </p:nvPicPr>
            <p:blipFill>
              <a:blip r:embed="rId138"/>
              <a:stretch>
                <a:fillRect/>
              </a:stretch>
            </p:blipFill>
            <p:spPr>
              <a:xfrm>
                <a:off x="8763790" y="4757156"/>
                <a:ext cx="3600000" cy="1261080"/>
              </a:xfrm>
              <a:prstGeom prst="rect">
                <a:avLst/>
              </a:prstGeom>
            </p:spPr>
          </p:pic>
        </mc:Fallback>
      </mc:AlternateContent>
      <mc:AlternateContent xmlns:mc="http://schemas.openxmlformats.org/markup-compatibility/2006">
        <mc:Choice xmlns:p14="http://schemas.microsoft.com/office/powerpoint/2010/main" Requires="p14">
          <p:contentPart p14:bwMode="auto" r:id="rId139">
            <p14:nvContentPartPr>
              <p14:cNvPr id="54" name="Ink 53">
                <a:extLst>
                  <a:ext uri="{FF2B5EF4-FFF2-40B4-BE49-F238E27FC236}">
                    <a16:creationId xmlns:a16="http://schemas.microsoft.com/office/drawing/2014/main" id="{13408E26-CD3B-561C-2578-D2BE3BF01ADD}"/>
                  </a:ext>
                </a:extLst>
              </p14:cNvPr>
              <p14:cNvContentPartPr/>
              <p14:nvPr/>
            </p14:nvContentPartPr>
            <p14:xfrm>
              <a:off x="12705070" y="3095396"/>
              <a:ext cx="135000" cy="120600"/>
            </p14:xfrm>
          </p:contentPart>
        </mc:Choice>
        <mc:Fallback>
          <p:pic>
            <p:nvPicPr>
              <p:cNvPr id="54" name="Ink 53">
                <a:extLst>
                  <a:ext uri="{FF2B5EF4-FFF2-40B4-BE49-F238E27FC236}">
                    <a16:creationId xmlns:a16="http://schemas.microsoft.com/office/drawing/2014/main" id="{13408E26-CD3B-561C-2578-D2BE3BF01ADD}"/>
                  </a:ext>
                </a:extLst>
              </p:cNvPr>
              <p:cNvPicPr/>
              <p:nvPr/>
            </p:nvPicPr>
            <p:blipFill>
              <a:blip r:embed="rId140"/>
              <a:stretch>
                <a:fillRect/>
              </a:stretch>
            </p:blipFill>
            <p:spPr>
              <a:xfrm>
                <a:off x="12700750" y="3091076"/>
                <a:ext cx="143640" cy="129240"/>
              </a:xfrm>
              <a:prstGeom prst="rect">
                <a:avLst/>
              </a:prstGeom>
            </p:spPr>
          </p:pic>
        </mc:Fallback>
      </mc:AlternateContent>
      <mc:AlternateContent xmlns:mc="http://schemas.openxmlformats.org/markup-compatibility/2006">
        <mc:Choice xmlns:p14="http://schemas.microsoft.com/office/powerpoint/2010/main" Requires="p14">
          <p:contentPart p14:bwMode="auto" r:id="rId141">
            <p14:nvContentPartPr>
              <p14:cNvPr id="58" name="Ink 57">
                <a:extLst>
                  <a:ext uri="{FF2B5EF4-FFF2-40B4-BE49-F238E27FC236}">
                    <a16:creationId xmlns:a16="http://schemas.microsoft.com/office/drawing/2014/main" id="{04FF354E-DE3A-C9B9-332D-18BB834AAC98}"/>
                  </a:ext>
                </a:extLst>
              </p14:cNvPr>
              <p14:cNvContentPartPr/>
              <p14:nvPr/>
            </p14:nvContentPartPr>
            <p14:xfrm>
              <a:off x="12604270" y="3155876"/>
              <a:ext cx="10440" cy="127080"/>
            </p14:xfrm>
          </p:contentPart>
        </mc:Choice>
        <mc:Fallback>
          <p:pic>
            <p:nvPicPr>
              <p:cNvPr id="58" name="Ink 57">
                <a:extLst>
                  <a:ext uri="{FF2B5EF4-FFF2-40B4-BE49-F238E27FC236}">
                    <a16:creationId xmlns:a16="http://schemas.microsoft.com/office/drawing/2014/main" id="{04FF354E-DE3A-C9B9-332D-18BB834AAC98}"/>
                  </a:ext>
                </a:extLst>
              </p:cNvPr>
              <p:cNvPicPr/>
              <p:nvPr/>
            </p:nvPicPr>
            <p:blipFill>
              <a:blip r:embed="rId142"/>
              <a:stretch>
                <a:fillRect/>
              </a:stretch>
            </p:blipFill>
            <p:spPr>
              <a:xfrm>
                <a:off x="12599950" y="3151556"/>
                <a:ext cx="19080" cy="135720"/>
              </a:xfrm>
              <a:prstGeom prst="rect">
                <a:avLst/>
              </a:prstGeom>
            </p:spPr>
          </p:pic>
        </mc:Fallback>
      </mc:AlternateContent>
    </p:spTree>
    <p:extLst>
      <p:ext uri="{BB962C8B-B14F-4D97-AF65-F5344CB8AC3E}">
        <p14:creationId xmlns:p14="http://schemas.microsoft.com/office/powerpoint/2010/main" val="30504412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_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2.xml><?xml version="1.0" encoding="utf-8"?>
<a:theme xmlns:a="http://schemas.openxmlformats.org/drawingml/2006/main" name="1_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20</TotalTime>
  <Words>1838</Words>
  <Application>Microsoft Office PowerPoint</Application>
  <PresentationFormat>Widescreen</PresentationFormat>
  <Paragraphs>333</Paragraphs>
  <Slides>27</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6" baseType="lpstr">
      <vt:lpstr>ＭＳ Ｐゴシック</vt:lpstr>
      <vt:lpstr>Arial</vt:lpstr>
      <vt:lpstr>Calibri</vt:lpstr>
      <vt:lpstr>Courier New</vt:lpstr>
      <vt:lpstr>Rockwell</vt:lpstr>
      <vt:lpstr>Times New Roman</vt:lpstr>
      <vt:lpstr>16_USPS_Template_1</vt:lpstr>
      <vt:lpstr>1_USPS_Template_1</vt:lpstr>
      <vt:lpstr>think-cell Slide</vt:lpstr>
      <vt:lpstr>  </vt:lpstr>
      <vt:lpstr>CSV and its purpose?</vt:lpstr>
      <vt:lpstr>CSV Data Sources</vt:lpstr>
      <vt:lpstr>Workload Associated by Labor Distribution Code (LDC)</vt:lpstr>
      <vt:lpstr>CSV Sign-In </vt:lpstr>
      <vt:lpstr>Search Page</vt:lpstr>
      <vt:lpstr>Search Page (If Finance # Is Known)</vt:lpstr>
      <vt:lpstr>Customer Service Variance Summary</vt:lpstr>
      <vt:lpstr>Workhour Analysis Section</vt:lpstr>
      <vt:lpstr>CSV Menu - FDB</vt:lpstr>
      <vt:lpstr>FTES Daily Staffing Analysis</vt:lpstr>
      <vt:lpstr>CSV Menu</vt:lpstr>
      <vt:lpstr>CSV Other Reports - Menu</vt:lpstr>
      <vt:lpstr>CSV Menu - Complement Model</vt:lpstr>
      <vt:lpstr>CSV Menu – LDC 42</vt:lpstr>
      <vt:lpstr> FY 2023 -LDC 42 Business Services Metrics</vt:lpstr>
      <vt:lpstr>CSV Menu – LDC 45 Ancillary</vt:lpstr>
      <vt:lpstr> FY 2023 -LDC 45-Retail Window Service Metrics</vt:lpstr>
      <vt:lpstr>CSV Menu – LDC 45 LA</vt:lpstr>
      <vt:lpstr>CSV Menu – LDC 48      Postal One / Validate collection pickups, PFS amount, </vt:lpstr>
      <vt:lpstr> FY 2023 -LDC 48-Administrative Backoffice Metrics</vt:lpstr>
      <vt:lpstr>CSV Menu – SCF Hub</vt:lpstr>
      <vt:lpstr>CSV Menu – Sunday Hub</vt:lpstr>
      <vt:lpstr>Ways to monitor and increase your CSV %</vt:lpstr>
      <vt:lpstr>CSV Variance score</vt:lpstr>
      <vt:lpstr>CSV Opportunity to SPLY</vt:lpstr>
      <vt:lpstr>F2DPH Calcul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ng II, Thomas C - Washington, DC</dc:creator>
  <cp:lastModifiedBy>Dan Leonard</cp:lastModifiedBy>
  <cp:revision>12</cp:revision>
  <cp:lastPrinted>2024-09-22T19:08:00Z</cp:lastPrinted>
  <dcterms:created xsi:type="dcterms:W3CDTF">2023-01-05T13:19:56Z</dcterms:created>
  <dcterms:modified xsi:type="dcterms:W3CDTF">2024-09-25T02:18:27Z</dcterms:modified>
</cp:coreProperties>
</file>